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3"/>
  </p:notesMasterIdLst>
  <p:sldIdLst>
    <p:sldId id="257" r:id="rId2"/>
  </p:sldIdLst>
  <p:sldSz cx="20897850" cy="51206400"/>
  <p:notesSz cx="6858000" cy="9144000"/>
  <p:custDataLst>
    <p:tags r:id="rId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>
        <p:scale>
          <a:sx n="41" d="100"/>
          <a:sy n="41" d="100"/>
        </p:scale>
        <p:origin x="508" y="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1440877055599069E-3"/>
          <c:y val="3.0678466076696165E-2"/>
          <c:w val="0.98371182458888018"/>
          <c:h val="0.93864306784660767"/>
        </c:manualLayout>
      </c:layout>
      <c:lineChart>
        <c:grouping val="standard"/>
        <c:varyColors val="0"/>
        <c:ser>
          <c:idx val="0"/>
          <c:order val="0"/>
          <c:spPr>
            <a:ln w="28575" cmpd="sng" algn="ctr">
              <a:solidFill>
                <a:srgbClr val="05AD2C"/>
              </a:solidFill>
              <a:prstDash val="solid"/>
            </a:ln>
          </c:spPr>
          <c:marker>
            <c:symbol val="none"/>
          </c:marker>
          <c:val>
            <c:numRef>
              <c:f>Sheet1!$A$1:$T$1</c:f>
              <c:numCache>
                <c:formatCode>General</c:formatCode>
                <c:ptCount val="20"/>
                <c:pt idx="0">
                  <c:v>33</c:v>
                </c:pt>
                <c:pt idx="1">
                  <c:v>35</c:v>
                </c:pt>
                <c:pt idx="2">
                  <c:v>38</c:v>
                </c:pt>
                <c:pt idx="3">
                  <c:v>40</c:v>
                </c:pt>
                <c:pt idx="4">
                  <c:v>44</c:v>
                </c:pt>
                <c:pt idx="5">
                  <c:v>46</c:v>
                </c:pt>
                <c:pt idx="6">
                  <c:v>50</c:v>
                </c:pt>
                <c:pt idx="7">
                  <c:v>54</c:v>
                </c:pt>
                <c:pt idx="8">
                  <c:v>58</c:v>
                </c:pt>
                <c:pt idx="9">
                  <c:v>61</c:v>
                </c:pt>
                <c:pt idx="10">
                  <c:v>65</c:v>
                </c:pt>
                <c:pt idx="11">
                  <c:v>62</c:v>
                </c:pt>
                <c:pt idx="12">
                  <c:v>59</c:v>
                </c:pt>
                <c:pt idx="13">
                  <c:v>61</c:v>
                </c:pt>
                <c:pt idx="14">
                  <c:v>63</c:v>
                </c:pt>
                <c:pt idx="15">
                  <c:v>66</c:v>
                </c:pt>
                <c:pt idx="16">
                  <c:v>68</c:v>
                </c:pt>
                <c:pt idx="17">
                  <c:v>67</c:v>
                </c:pt>
                <c:pt idx="18">
                  <c:v>68</c:v>
                </c:pt>
                <c:pt idx="19">
                  <c:v>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9A2-4EDD-B8A8-B015AEF92F8D}"/>
            </c:ext>
          </c:extLst>
        </c:ser>
        <c:ser>
          <c:idx val="1"/>
          <c:order val="1"/>
          <c:spPr>
            <a:ln w="28575" cmpd="sng" algn="ctr">
              <a:solidFill>
                <a:srgbClr val="C30C3E"/>
              </a:solidFill>
              <a:prstDash val="dash"/>
            </a:ln>
          </c:spPr>
          <c:marker>
            <c:symbol val="none"/>
          </c:marker>
          <c:val>
            <c:numRef>
              <c:f>Sheet1!$A$2:$T$2</c:f>
              <c:numCache>
                <c:formatCode>General</c:formatCode>
                <c:ptCount val="20"/>
                <c:pt idx="0">
                  <c:v>79</c:v>
                </c:pt>
                <c:pt idx="1">
                  <c:v>78</c:v>
                </c:pt>
                <c:pt idx="2">
                  <c:v>80</c:v>
                </c:pt>
                <c:pt idx="3">
                  <c:v>80</c:v>
                </c:pt>
                <c:pt idx="4">
                  <c:v>84</c:v>
                </c:pt>
                <c:pt idx="5">
                  <c:v>84</c:v>
                </c:pt>
                <c:pt idx="6">
                  <c:v>94</c:v>
                </c:pt>
                <c:pt idx="7">
                  <c:v>93</c:v>
                </c:pt>
                <c:pt idx="8">
                  <c:v>94</c:v>
                </c:pt>
                <c:pt idx="9">
                  <c:v>94</c:v>
                </c:pt>
                <c:pt idx="10">
                  <c:v>91</c:v>
                </c:pt>
                <c:pt idx="11">
                  <c:v>92</c:v>
                </c:pt>
                <c:pt idx="12">
                  <c:v>90</c:v>
                </c:pt>
                <c:pt idx="13">
                  <c:v>98</c:v>
                </c:pt>
                <c:pt idx="14">
                  <c:v>88</c:v>
                </c:pt>
                <c:pt idx="15">
                  <c:v>93</c:v>
                </c:pt>
                <c:pt idx="16">
                  <c:v>99</c:v>
                </c:pt>
                <c:pt idx="17">
                  <c:v>97</c:v>
                </c:pt>
                <c:pt idx="18">
                  <c:v>97</c:v>
                </c:pt>
                <c:pt idx="19">
                  <c:v>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9A2-4EDD-B8A8-B015AEF92F8D}"/>
            </c:ext>
          </c:extLst>
        </c:ser>
        <c:ser>
          <c:idx val="2"/>
          <c:order val="2"/>
          <c:spPr>
            <a:ln w="28575" cmpd="sng" algn="ctr">
              <a:solidFill>
                <a:srgbClr val="6F8DB9"/>
              </a:solidFill>
              <a:prstDash val="solid"/>
            </a:ln>
          </c:spPr>
          <c:marker>
            <c:symbol val="none"/>
          </c:marker>
          <c:val>
            <c:numRef>
              <c:f>Sheet1!$A$3:$T$3</c:f>
              <c:numCache>
                <c:formatCode>General</c:formatCode>
                <c:ptCount val="20"/>
                <c:pt idx="0">
                  <c:v>80</c:v>
                </c:pt>
                <c:pt idx="1">
                  <c:v>84</c:v>
                </c:pt>
                <c:pt idx="2">
                  <c:v>73</c:v>
                </c:pt>
                <c:pt idx="3">
                  <c:v>73</c:v>
                </c:pt>
                <c:pt idx="4">
                  <c:v>76</c:v>
                </c:pt>
                <c:pt idx="5">
                  <c:v>80</c:v>
                </c:pt>
                <c:pt idx="6">
                  <c:v>81</c:v>
                </c:pt>
                <c:pt idx="7">
                  <c:v>88</c:v>
                </c:pt>
                <c:pt idx="8">
                  <c:v>88</c:v>
                </c:pt>
                <c:pt idx="9">
                  <c:v>90</c:v>
                </c:pt>
                <c:pt idx="10">
                  <c:v>96</c:v>
                </c:pt>
                <c:pt idx="11">
                  <c:v>94</c:v>
                </c:pt>
                <c:pt idx="12">
                  <c:v>87</c:v>
                </c:pt>
                <c:pt idx="13">
                  <c:v>92</c:v>
                </c:pt>
                <c:pt idx="14">
                  <c:v>89</c:v>
                </c:pt>
                <c:pt idx="15">
                  <c:v>89</c:v>
                </c:pt>
                <c:pt idx="16">
                  <c:v>82</c:v>
                </c:pt>
                <c:pt idx="17">
                  <c:v>92</c:v>
                </c:pt>
                <c:pt idx="18">
                  <c:v>91</c:v>
                </c:pt>
                <c:pt idx="19">
                  <c:v>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9A2-4EDD-B8A8-B015AEF92F8D}"/>
            </c:ext>
          </c:extLst>
        </c:ser>
        <c:ser>
          <c:idx val="3"/>
          <c:order val="3"/>
          <c:spPr>
            <a:ln w="28575" cmpd="sng" algn="ctr">
              <a:solidFill>
                <a:schemeClr val="folHlink"/>
              </a:solidFill>
              <a:prstDash val="solid"/>
            </a:ln>
          </c:spPr>
          <c:marker>
            <c:symbol val="none"/>
          </c:marker>
          <c:val>
            <c:numRef>
              <c:f>Sheet1!$A$4:$T$4</c:f>
              <c:numCache>
                <c:formatCode>General</c:formatCode>
                <c:ptCount val="20"/>
                <c:pt idx="0">
                  <c:v>90</c:v>
                </c:pt>
                <c:pt idx="1">
                  <c:v>64</c:v>
                </c:pt>
                <c:pt idx="2">
                  <c:v>84</c:v>
                </c:pt>
                <c:pt idx="3">
                  <c:v>89</c:v>
                </c:pt>
                <c:pt idx="4">
                  <c:v>93</c:v>
                </c:pt>
                <c:pt idx="5">
                  <c:v>99</c:v>
                </c:pt>
                <c:pt idx="6">
                  <c:v>87</c:v>
                </c:pt>
                <c:pt idx="7">
                  <c:v>91</c:v>
                </c:pt>
                <c:pt idx="8">
                  <c:v>93</c:v>
                </c:pt>
                <c:pt idx="9">
                  <c:v>93</c:v>
                </c:pt>
                <c:pt idx="10">
                  <c:v>97</c:v>
                </c:pt>
                <c:pt idx="11">
                  <c:v>96</c:v>
                </c:pt>
                <c:pt idx="12">
                  <c:v>89</c:v>
                </c:pt>
                <c:pt idx="13">
                  <c:v>91</c:v>
                </c:pt>
                <c:pt idx="14">
                  <c:v>88</c:v>
                </c:pt>
                <c:pt idx="15">
                  <c:v>84</c:v>
                </c:pt>
                <c:pt idx="16">
                  <c:v>88</c:v>
                </c:pt>
                <c:pt idx="17">
                  <c:v>92</c:v>
                </c:pt>
                <c:pt idx="18">
                  <c:v>95</c:v>
                </c:pt>
                <c:pt idx="19">
                  <c:v>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9A2-4EDD-B8A8-B015AEF92F8D}"/>
            </c:ext>
          </c:extLst>
        </c:ser>
        <c:ser>
          <c:idx val="4"/>
          <c:order val="4"/>
          <c:spPr>
            <a:ln w="28575" cmpd="sng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val>
            <c:numRef>
              <c:f>Sheet1!$A$5:$T$5</c:f>
              <c:numCache>
                <c:formatCode>General</c:formatCode>
                <c:ptCount val="20"/>
                <c:pt idx="0">
                  <c:v>27</c:v>
                </c:pt>
                <c:pt idx="1">
                  <c:v>25</c:v>
                </c:pt>
                <c:pt idx="2">
                  <c:v>29</c:v>
                </c:pt>
                <c:pt idx="3">
                  <c:v>33</c:v>
                </c:pt>
                <c:pt idx="4">
                  <c:v>36</c:v>
                </c:pt>
                <c:pt idx="5">
                  <c:v>40</c:v>
                </c:pt>
                <c:pt idx="6">
                  <c:v>42</c:v>
                </c:pt>
                <c:pt idx="7">
                  <c:v>53</c:v>
                </c:pt>
                <c:pt idx="8">
                  <c:v>63</c:v>
                </c:pt>
                <c:pt idx="9">
                  <c:v>54</c:v>
                </c:pt>
                <c:pt idx="10">
                  <c:v>48</c:v>
                </c:pt>
                <c:pt idx="11">
                  <c:v>42</c:v>
                </c:pt>
                <c:pt idx="12">
                  <c:v>43</c:v>
                </c:pt>
                <c:pt idx="13">
                  <c:v>43</c:v>
                </c:pt>
                <c:pt idx="14">
                  <c:v>42</c:v>
                </c:pt>
                <c:pt idx="15">
                  <c:v>53</c:v>
                </c:pt>
                <c:pt idx="16">
                  <c:v>55</c:v>
                </c:pt>
                <c:pt idx="17">
                  <c:v>56</c:v>
                </c:pt>
                <c:pt idx="18">
                  <c:v>57</c:v>
                </c:pt>
                <c:pt idx="19">
                  <c:v>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9A2-4EDD-B8A8-B015AEF92F8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45651423"/>
        <c:axId val="1"/>
      </c:lineChart>
      <c:catAx>
        <c:axId val="9456514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 kern="1200">
                <a:latin typeface="+mn-lt"/>
                <a:ea typeface="+mn-ea"/>
                <a:cs typeface="+mn-cs"/>
                <a:sym typeface="+mn-lt"/>
              </a:defRPr>
            </a:pPr>
            <a:endParaRPr lang="en-NG"/>
          </a:p>
        </c:tx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945651423"/>
        <c:crosses val="min"/>
        <c:crossBetween val="midCat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723512567610558E-3"/>
          <c:y val="0.11416490486257928"/>
          <c:w val="0.98345529748647786"/>
          <c:h val="0.7716701902748414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0C0C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FB5B-47BA-B8E7-8B88BB968BF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FB5B-47BA-B8E7-8B88BB968BFB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FB5B-47BA-B8E7-8B88BB968BF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FB5B-47BA-B8E7-8B88BB968BFB}"/>
              </c:ext>
            </c:extLst>
          </c:dPt>
          <c:dPt>
            <c:idx val="8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FB5B-47BA-B8E7-8B88BB968BFB}"/>
              </c:ext>
            </c:extLst>
          </c:dPt>
          <c:dLbls>
            <c:dLbl>
              <c:idx val="0"/>
              <c:layout>
                <c:manualLayout>
                  <c:x val="0"/>
                  <c:y val="-0.1898520084566596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NG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B5B-47BA-B8E7-8B88BB968BFB}"/>
                </c:ext>
              </c:extLst>
            </c:dLbl>
            <c:dLbl>
              <c:idx val="1"/>
              <c:layout>
                <c:manualLayout>
                  <c:x val="0"/>
                  <c:y val="-0.1936575052854122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NG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B5B-47BA-B8E7-8B88BB968BFB}"/>
                </c:ext>
              </c:extLst>
            </c:dLbl>
            <c:dLbl>
              <c:idx val="2"/>
              <c:layout>
                <c:manualLayout>
                  <c:x val="0"/>
                  <c:y val="-0.2482029598308668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NG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B5B-47BA-B8E7-8B88BB968BFB}"/>
                </c:ext>
              </c:extLst>
            </c:dLbl>
            <c:dLbl>
              <c:idx val="3"/>
              <c:layout>
                <c:manualLayout>
                  <c:x val="0"/>
                  <c:y val="-0.2363636363636363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NG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B5B-47BA-B8E7-8B88BB968BFB}"/>
                </c:ext>
              </c:extLst>
            </c:dLbl>
            <c:dLbl>
              <c:idx val="4"/>
              <c:layout>
                <c:manualLayout>
                  <c:x val="0"/>
                  <c:y val="-0.174630021141649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NG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B5B-47BA-B8E7-8B88BB968BFB}"/>
                </c:ext>
              </c:extLst>
            </c:dLbl>
            <c:dLbl>
              <c:idx val="5"/>
              <c:layout>
                <c:manualLayout>
                  <c:x val="0"/>
                  <c:y val="-0.2672304439746300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NG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FB5B-47BA-B8E7-8B88BB968BFB}"/>
                </c:ext>
              </c:extLst>
            </c:dLbl>
            <c:dLbl>
              <c:idx val="6"/>
              <c:layout>
                <c:manualLayout>
                  <c:x val="0"/>
                  <c:y val="-0.24016913319238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NG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B5B-47BA-B8E7-8B88BB968BFB}"/>
                </c:ext>
              </c:extLst>
            </c:dLbl>
            <c:dLbl>
              <c:idx val="7"/>
              <c:layout>
                <c:manualLayout>
                  <c:x val="0"/>
                  <c:y val="-0.3213530655391120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NG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B5B-47BA-B8E7-8B88BB968BFB}"/>
                </c:ext>
              </c:extLst>
            </c:dLbl>
            <c:dLbl>
              <c:idx val="8"/>
              <c:layout>
                <c:manualLayout>
                  <c:x val="0"/>
                  <c:y val="-0.2634249471458773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en-NG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B5B-47BA-B8E7-8B88BB968BF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I$1</c:f>
              <c:numCache>
                <c:formatCode>General</c:formatCode>
                <c:ptCount val="9"/>
                <c:pt idx="0">
                  <c:v>37</c:v>
                </c:pt>
                <c:pt idx="1">
                  <c:v>38</c:v>
                </c:pt>
                <c:pt idx="2">
                  <c:v>52</c:v>
                </c:pt>
                <c:pt idx="3">
                  <c:v>49</c:v>
                </c:pt>
                <c:pt idx="4">
                  <c:v>33</c:v>
                </c:pt>
                <c:pt idx="5">
                  <c:v>57</c:v>
                </c:pt>
                <c:pt idx="6">
                  <c:v>50</c:v>
                </c:pt>
                <c:pt idx="7">
                  <c:v>71</c:v>
                </c:pt>
                <c:pt idx="8">
                  <c:v>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FB5B-47BA-B8E7-8B88BB968B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02093328"/>
        <c:axId val="1"/>
      </c:barChart>
      <c:catAx>
        <c:axId val="5020933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020933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994AA4-CD5E-4B06-8B9C-C5827FD59282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798763" y="1143000"/>
            <a:ext cx="12604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3BD5B9-0F48-42F3-8701-F7E8A43D01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4827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120195" rtl="0" eaLnBrk="1" latinLnBrk="0" hangingPunct="1">
      <a:defRPr sz="5407" kern="1200">
        <a:solidFill>
          <a:schemeClr val="tx1"/>
        </a:solidFill>
        <a:latin typeface="+mn-lt"/>
        <a:ea typeface="+mn-ea"/>
        <a:cs typeface="+mn-cs"/>
      </a:defRPr>
    </a:lvl1pPr>
    <a:lvl2pPr marL="2060097" algn="l" defTabSz="4120195" rtl="0" eaLnBrk="1" latinLnBrk="0" hangingPunct="1">
      <a:defRPr sz="5407" kern="1200">
        <a:solidFill>
          <a:schemeClr val="tx1"/>
        </a:solidFill>
        <a:latin typeface="+mn-lt"/>
        <a:ea typeface="+mn-ea"/>
        <a:cs typeface="+mn-cs"/>
      </a:defRPr>
    </a:lvl2pPr>
    <a:lvl3pPr marL="4120195" algn="l" defTabSz="4120195" rtl="0" eaLnBrk="1" latinLnBrk="0" hangingPunct="1">
      <a:defRPr sz="5407" kern="1200">
        <a:solidFill>
          <a:schemeClr val="tx1"/>
        </a:solidFill>
        <a:latin typeface="+mn-lt"/>
        <a:ea typeface="+mn-ea"/>
        <a:cs typeface="+mn-cs"/>
      </a:defRPr>
    </a:lvl3pPr>
    <a:lvl4pPr marL="6180292" algn="l" defTabSz="4120195" rtl="0" eaLnBrk="1" latinLnBrk="0" hangingPunct="1">
      <a:defRPr sz="5407" kern="1200">
        <a:solidFill>
          <a:schemeClr val="tx1"/>
        </a:solidFill>
        <a:latin typeface="+mn-lt"/>
        <a:ea typeface="+mn-ea"/>
        <a:cs typeface="+mn-cs"/>
      </a:defRPr>
    </a:lvl4pPr>
    <a:lvl5pPr marL="8240390" algn="l" defTabSz="4120195" rtl="0" eaLnBrk="1" latinLnBrk="0" hangingPunct="1">
      <a:defRPr sz="5407" kern="1200">
        <a:solidFill>
          <a:schemeClr val="tx1"/>
        </a:solidFill>
        <a:latin typeface="+mn-lt"/>
        <a:ea typeface="+mn-ea"/>
        <a:cs typeface="+mn-cs"/>
      </a:defRPr>
    </a:lvl5pPr>
    <a:lvl6pPr marL="10300487" algn="l" defTabSz="4120195" rtl="0" eaLnBrk="1" latinLnBrk="0" hangingPunct="1">
      <a:defRPr sz="5407" kern="1200">
        <a:solidFill>
          <a:schemeClr val="tx1"/>
        </a:solidFill>
        <a:latin typeface="+mn-lt"/>
        <a:ea typeface="+mn-ea"/>
        <a:cs typeface="+mn-cs"/>
      </a:defRPr>
    </a:lvl6pPr>
    <a:lvl7pPr marL="12360585" algn="l" defTabSz="4120195" rtl="0" eaLnBrk="1" latinLnBrk="0" hangingPunct="1">
      <a:defRPr sz="5407" kern="1200">
        <a:solidFill>
          <a:schemeClr val="tx1"/>
        </a:solidFill>
        <a:latin typeface="+mn-lt"/>
        <a:ea typeface="+mn-ea"/>
        <a:cs typeface="+mn-cs"/>
      </a:defRPr>
    </a:lvl7pPr>
    <a:lvl8pPr marL="14420682" algn="l" defTabSz="4120195" rtl="0" eaLnBrk="1" latinLnBrk="0" hangingPunct="1">
      <a:defRPr sz="5407" kern="1200">
        <a:solidFill>
          <a:schemeClr val="tx1"/>
        </a:solidFill>
        <a:latin typeface="+mn-lt"/>
        <a:ea typeface="+mn-ea"/>
        <a:cs typeface="+mn-cs"/>
      </a:defRPr>
    </a:lvl8pPr>
    <a:lvl9pPr marL="16480780" algn="l" defTabSz="4120195" rtl="0" eaLnBrk="1" latinLnBrk="0" hangingPunct="1">
      <a:defRPr sz="540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67339" y="8380311"/>
            <a:ext cx="17763173" cy="17827413"/>
          </a:xfrm>
        </p:spPr>
        <p:txBody>
          <a:bodyPr anchor="b"/>
          <a:lstStyle>
            <a:lvl1pPr algn="ctr">
              <a:defRPr sz="13712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12231" y="26895217"/>
            <a:ext cx="15673388" cy="12363023"/>
          </a:xfrm>
        </p:spPr>
        <p:txBody>
          <a:bodyPr/>
          <a:lstStyle>
            <a:lvl1pPr marL="0" indent="0" algn="ctr">
              <a:buNone/>
              <a:defRPr sz="5485"/>
            </a:lvl1pPr>
            <a:lvl2pPr marL="1044885" indent="0" algn="ctr">
              <a:buNone/>
              <a:defRPr sz="4571"/>
            </a:lvl2pPr>
            <a:lvl3pPr marL="2089770" indent="0" algn="ctr">
              <a:buNone/>
              <a:defRPr sz="4114"/>
            </a:lvl3pPr>
            <a:lvl4pPr marL="3134655" indent="0" algn="ctr">
              <a:buNone/>
              <a:defRPr sz="3657"/>
            </a:lvl4pPr>
            <a:lvl5pPr marL="4179540" indent="0" algn="ctr">
              <a:buNone/>
              <a:defRPr sz="3657"/>
            </a:lvl5pPr>
            <a:lvl6pPr marL="5224424" indent="0" algn="ctr">
              <a:buNone/>
              <a:defRPr sz="3657"/>
            </a:lvl6pPr>
            <a:lvl7pPr marL="6269309" indent="0" algn="ctr">
              <a:buNone/>
              <a:defRPr sz="3657"/>
            </a:lvl7pPr>
            <a:lvl8pPr marL="7314194" indent="0" algn="ctr">
              <a:buNone/>
              <a:defRPr sz="3657"/>
            </a:lvl8pPr>
            <a:lvl9pPr marL="8359079" indent="0" algn="ctr">
              <a:buNone/>
              <a:defRPr sz="3657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42139-559C-4808-9204-60EB9F7B1B40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262C-11FC-4841-B66D-AD19A87324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84746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42139-559C-4808-9204-60EB9F7B1B40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262C-11FC-4841-B66D-AD19A87324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68475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4955025" y="2726267"/>
            <a:ext cx="4506099" cy="4339505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436728" y="2726267"/>
            <a:ext cx="13257074" cy="4339505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42139-559C-4808-9204-60EB9F7B1B40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262C-11FC-4841-B66D-AD19A87324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0003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42139-559C-4808-9204-60EB9F7B1B40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262C-11FC-4841-B66D-AD19A87324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09095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5844" y="12766055"/>
            <a:ext cx="18024396" cy="21300436"/>
          </a:xfrm>
        </p:spPr>
        <p:txBody>
          <a:bodyPr anchor="b"/>
          <a:lstStyle>
            <a:lvl1pPr>
              <a:defRPr sz="13712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25844" y="34268002"/>
            <a:ext cx="18024396" cy="11201396"/>
          </a:xfrm>
        </p:spPr>
        <p:txBody>
          <a:bodyPr/>
          <a:lstStyle>
            <a:lvl1pPr marL="0" indent="0">
              <a:buNone/>
              <a:defRPr sz="5485">
                <a:solidFill>
                  <a:schemeClr val="tx1">
                    <a:tint val="82000"/>
                  </a:schemeClr>
                </a:solidFill>
              </a:defRPr>
            </a:lvl1pPr>
            <a:lvl2pPr marL="1044885" indent="0">
              <a:buNone/>
              <a:defRPr sz="4571">
                <a:solidFill>
                  <a:schemeClr val="tx1">
                    <a:tint val="82000"/>
                  </a:schemeClr>
                </a:solidFill>
              </a:defRPr>
            </a:lvl2pPr>
            <a:lvl3pPr marL="2089770" indent="0">
              <a:buNone/>
              <a:defRPr sz="4114">
                <a:solidFill>
                  <a:schemeClr val="tx1">
                    <a:tint val="82000"/>
                  </a:schemeClr>
                </a:solidFill>
              </a:defRPr>
            </a:lvl3pPr>
            <a:lvl4pPr marL="3134655" indent="0">
              <a:buNone/>
              <a:defRPr sz="3657">
                <a:solidFill>
                  <a:schemeClr val="tx1">
                    <a:tint val="82000"/>
                  </a:schemeClr>
                </a:solidFill>
              </a:defRPr>
            </a:lvl4pPr>
            <a:lvl5pPr marL="4179540" indent="0">
              <a:buNone/>
              <a:defRPr sz="3657">
                <a:solidFill>
                  <a:schemeClr val="tx1">
                    <a:tint val="82000"/>
                  </a:schemeClr>
                </a:solidFill>
              </a:defRPr>
            </a:lvl5pPr>
            <a:lvl6pPr marL="5224424" indent="0">
              <a:buNone/>
              <a:defRPr sz="3657">
                <a:solidFill>
                  <a:schemeClr val="tx1">
                    <a:tint val="82000"/>
                  </a:schemeClr>
                </a:solidFill>
              </a:defRPr>
            </a:lvl6pPr>
            <a:lvl7pPr marL="6269309" indent="0">
              <a:buNone/>
              <a:defRPr sz="3657">
                <a:solidFill>
                  <a:schemeClr val="tx1">
                    <a:tint val="82000"/>
                  </a:schemeClr>
                </a:solidFill>
              </a:defRPr>
            </a:lvl7pPr>
            <a:lvl8pPr marL="7314194" indent="0">
              <a:buNone/>
              <a:defRPr sz="3657">
                <a:solidFill>
                  <a:schemeClr val="tx1">
                    <a:tint val="82000"/>
                  </a:schemeClr>
                </a:solidFill>
              </a:defRPr>
            </a:lvl8pPr>
            <a:lvl9pPr marL="8359079" indent="0">
              <a:buNone/>
              <a:defRPr sz="3657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42139-559C-4808-9204-60EB9F7B1B40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262C-11FC-4841-B66D-AD19A87324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3752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36727" y="13631334"/>
            <a:ext cx="8881586" cy="324899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579537" y="13631334"/>
            <a:ext cx="8881586" cy="324899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42139-559C-4808-9204-60EB9F7B1B40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262C-11FC-4841-B66D-AD19A87324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848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9449" y="2726278"/>
            <a:ext cx="18024396" cy="989753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39451" y="12552684"/>
            <a:ext cx="8840769" cy="6151876"/>
          </a:xfrm>
        </p:spPr>
        <p:txBody>
          <a:bodyPr anchor="b"/>
          <a:lstStyle>
            <a:lvl1pPr marL="0" indent="0">
              <a:buNone/>
              <a:defRPr sz="5485" b="1"/>
            </a:lvl1pPr>
            <a:lvl2pPr marL="1044885" indent="0">
              <a:buNone/>
              <a:defRPr sz="4571" b="1"/>
            </a:lvl2pPr>
            <a:lvl3pPr marL="2089770" indent="0">
              <a:buNone/>
              <a:defRPr sz="4114" b="1"/>
            </a:lvl3pPr>
            <a:lvl4pPr marL="3134655" indent="0">
              <a:buNone/>
              <a:defRPr sz="3657" b="1"/>
            </a:lvl4pPr>
            <a:lvl5pPr marL="4179540" indent="0">
              <a:buNone/>
              <a:defRPr sz="3657" b="1"/>
            </a:lvl5pPr>
            <a:lvl6pPr marL="5224424" indent="0">
              <a:buNone/>
              <a:defRPr sz="3657" b="1"/>
            </a:lvl6pPr>
            <a:lvl7pPr marL="6269309" indent="0">
              <a:buNone/>
              <a:defRPr sz="3657" b="1"/>
            </a:lvl7pPr>
            <a:lvl8pPr marL="7314194" indent="0">
              <a:buNone/>
              <a:defRPr sz="3657" b="1"/>
            </a:lvl8pPr>
            <a:lvl9pPr marL="8359079" indent="0">
              <a:buNone/>
              <a:defRPr sz="365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39451" y="18704560"/>
            <a:ext cx="8840769" cy="275115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0579538" y="12552684"/>
            <a:ext cx="8884308" cy="6151876"/>
          </a:xfrm>
        </p:spPr>
        <p:txBody>
          <a:bodyPr anchor="b"/>
          <a:lstStyle>
            <a:lvl1pPr marL="0" indent="0">
              <a:buNone/>
              <a:defRPr sz="5485" b="1"/>
            </a:lvl1pPr>
            <a:lvl2pPr marL="1044885" indent="0">
              <a:buNone/>
              <a:defRPr sz="4571" b="1"/>
            </a:lvl2pPr>
            <a:lvl3pPr marL="2089770" indent="0">
              <a:buNone/>
              <a:defRPr sz="4114" b="1"/>
            </a:lvl3pPr>
            <a:lvl4pPr marL="3134655" indent="0">
              <a:buNone/>
              <a:defRPr sz="3657" b="1"/>
            </a:lvl4pPr>
            <a:lvl5pPr marL="4179540" indent="0">
              <a:buNone/>
              <a:defRPr sz="3657" b="1"/>
            </a:lvl5pPr>
            <a:lvl6pPr marL="5224424" indent="0">
              <a:buNone/>
              <a:defRPr sz="3657" b="1"/>
            </a:lvl6pPr>
            <a:lvl7pPr marL="6269309" indent="0">
              <a:buNone/>
              <a:defRPr sz="3657" b="1"/>
            </a:lvl7pPr>
            <a:lvl8pPr marL="7314194" indent="0">
              <a:buNone/>
              <a:defRPr sz="3657" b="1"/>
            </a:lvl8pPr>
            <a:lvl9pPr marL="8359079" indent="0">
              <a:buNone/>
              <a:defRPr sz="365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0579538" y="18704560"/>
            <a:ext cx="8884308" cy="275115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42139-559C-4808-9204-60EB9F7B1B40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262C-11FC-4841-B66D-AD19A87324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9868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42139-559C-4808-9204-60EB9F7B1B40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262C-11FC-4841-B66D-AD19A87324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99442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42139-559C-4808-9204-60EB9F7B1B40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262C-11FC-4841-B66D-AD19A87324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8508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9449" y="3413760"/>
            <a:ext cx="6740101" cy="11948160"/>
          </a:xfrm>
        </p:spPr>
        <p:txBody>
          <a:bodyPr anchor="b"/>
          <a:lstStyle>
            <a:lvl1pPr>
              <a:defRPr sz="731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884308" y="7372785"/>
            <a:ext cx="10579537" cy="36389733"/>
          </a:xfrm>
        </p:spPr>
        <p:txBody>
          <a:bodyPr/>
          <a:lstStyle>
            <a:lvl1pPr>
              <a:defRPr sz="7313"/>
            </a:lvl1pPr>
            <a:lvl2pPr>
              <a:defRPr sz="6399"/>
            </a:lvl2pPr>
            <a:lvl3pPr>
              <a:defRPr sz="5485"/>
            </a:lvl3pPr>
            <a:lvl4pPr>
              <a:defRPr sz="4571"/>
            </a:lvl4pPr>
            <a:lvl5pPr>
              <a:defRPr sz="4571"/>
            </a:lvl5pPr>
            <a:lvl6pPr>
              <a:defRPr sz="4571"/>
            </a:lvl6pPr>
            <a:lvl7pPr>
              <a:defRPr sz="4571"/>
            </a:lvl7pPr>
            <a:lvl8pPr>
              <a:defRPr sz="4571"/>
            </a:lvl8pPr>
            <a:lvl9pPr>
              <a:defRPr sz="457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39449" y="15361920"/>
            <a:ext cx="6740101" cy="28459857"/>
          </a:xfrm>
        </p:spPr>
        <p:txBody>
          <a:bodyPr/>
          <a:lstStyle>
            <a:lvl1pPr marL="0" indent="0">
              <a:buNone/>
              <a:defRPr sz="3657"/>
            </a:lvl1pPr>
            <a:lvl2pPr marL="1044885" indent="0">
              <a:buNone/>
              <a:defRPr sz="3200"/>
            </a:lvl2pPr>
            <a:lvl3pPr marL="2089770" indent="0">
              <a:buNone/>
              <a:defRPr sz="2742"/>
            </a:lvl3pPr>
            <a:lvl4pPr marL="3134655" indent="0">
              <a:buNone/>
              <a:defRPr sz="2285"/>
            </a:lvl4pPr>
            <a:lvl5pPr marL="4179540" indent="0">
              <a:buNone/>
              <a:defRPr sz="2285"/>
            </a:lvl5pPr>
            <a:lvl6pPr marL="5224424" indent="0">
              <a:buNone/>
              <a:defRPr sz="2285"/>
            </a:lvl6pPr>
            <a:lvl7pPr marL="6269309" indent="0">
              <a:buNone/>
              <a:defRPr sz="2285"/>
            </a:lvl7pPr>
            <a:lvl8pPr marL="7314194" indent="0">
              <a:buNone/>
              <a:defRPr sz="2285"/>
            </a:lvl8pPr>
            <a:lvl9pPr marL="8359079" indent="0">
              <a:buNone/>
              <a:defRPr sz="228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42139-559C-4808-9204-60EB9F7B1B40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262C-11FC-4841-B66D-AD19A87324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2094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39449" y="3413760"/>
            <a:ext cx="6740101" cy="11948160"/>
          </a:xfrm>
        </p:spPr>
        <p:txBody>
          <a:bodyPr anchor="b"/>
          <a:lstStyle>
            <a:lvl1pPr>
              <a:defRPr sz="731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884308" y="7372785"/>
            <a:ext cx="10579537" cy="36389733"/>
          </a:xfrm>
        </p:spPr>
        <p:txBody>
          <a:bodyPr anchor="t"/>
          <a:lstStyle>
            <a:lvl1pPr marL="0" indent="0">
              <a:buNone/>
              <a:defRPr sz="7313"/>
            </a:lvl1pPr>
            <a:lvl2pPr marL="1044885" indent="0">
              <a:buNone/>
              <a:defRPr sz="6399"/>
            </a:lvl2pPr>
            <a:lvl3pPr marL="2089770" indent="0">
              <a:buNone/>
              <a:defRPr sz="5485"/>
            </a:lvl3pPr>
            <a:lvl4pPr marL="3134655" indent="0">
              <a:buNone/>
              <a:defRPr sz="4571"/>
            </a:lvl4pPr>
            <a:lvl5pPr marL="4179540" indent="0">
              <a:buNone/>
              <a:defRPr sz="4571"/>
            </a:lvl5pPr>
            <a:lvl6pPr marL="5224424" indent="0">
              <a:buNone/>
              <a:defRPr sz="4571"/>
            </a:lvl6pPr>
            <a:lvl7pPr marL="6269309" indent="0">
              <a:buNone/>
              <a:defRPr sz="4571"/>
            </a:lvl7pPr>
            <a:lvl8pPr marL="7314194" indent="0">
              <a:buNone/>
              <a:defRPr sz="4571"/>
            </a:lvl8pPr>
            <a:lvl9pPr marL="8359079" indent="0">
              <a:buNone/>
              <a:defRPr sz="4571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439449" y="15361920"/>
            <a:ext cx="6740101" cy="28459857"/>
          </a:xfrm>
        </p:spPr>
        <p:txBody>
          <a:bodyPr/>
          <a:lstStyle>
            <a:lvl1pPr marL="0" indent="0">
              <a:buNone/>
              <a:defRPr sz="3657"/>
            </a:lvl1pPr>
            <a:lvl2pPr marL="1044885" indent="0">
              <a:buNone/>
              <a:defRPr sz="3200"/>
            </a:lvl2pPr>
            <a:lvl3pPr marL="2089770" indent="0">
              <a:buNone/>
              <a:defRPr sz="2742"/>
            </a:lvl3pPr>
            <a:lvl4pPr marL="3134655" indent="0">
              <a:buNone/>
              <a:defRPr sz="2285"/>
            </a:lvl4pPr>
            <a:lvl5pPr marL="4179540" indent="0">
              <a:buNone/>
              <a:defRPr sz="2285"/>
            </a:lvl5pPr>
            <a:lvl6pPr marL="5224424" indent="0">
              <a:buNone/>
              <a:defRPr sz="2285"/>
            </a:lvl6pPr>
            <a:lvl7pPr marL="6269309" indent="0">
              <a:buNone/>
              <a:defRPr sz="2285"/>
            </a:lvl7pPr>
            <a:lvl8pPr marL="7314194" indent="0">
              <a:buNone/>
              <a:defRPr sz="2285"/>
            </a:lvl8pPr>
            <a:lvl9pPr marL="8359079" indent="0">
              <a:buNone/>
              <a:defRPr sz="228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42139-559C-4808-9204-60EB9F7B1B40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262C-11FC-4841-B66D-AD19A873242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4422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36727" y="2726278"/>
            <a:ext cx="18024396" cy="98975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36727" y="13631334"/>
            <a:ext cx="18024396" cy="324899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436727" y="47460758"/>
            <a:ext cx="4702016" cy="27262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742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0242139-559C-4808-9204-60EB9F7B1B40}" type="datetimeFigureOut">
              <a:rPr lang="en-US" smtClean="0"/>
              <a:t>6/7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22413" y="47460758"/>
            <a:ext cx="7053024" cy="27262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742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4759107" y="47460758"/>
            <a:ext cx="4702016" cy="272626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742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10D262C-11FC-4841-B66D-AD19A8732421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8B5D3BFB-EEFA-6CD1-6EF6-AAD201A8FE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44683981"/>
              </p:ext>
            </p:extLst>
          </p:nvPr>
        </p:nvGraphicFramePr>
        <p:xfrm>
          <a:off x="3629" y="11857"/>
          <a:ext cx="3629" cy="1185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6" imgH="416" progId="TCLayout.ActiveDocument.1">
                  <p:embed/>
                </p:oleObj>
              </mc:Choice>
              <mc:Fallback>
                <p:oleObj name="think-cell Slide" r:id="rId14" imgW="416" imgH="41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435CB9-9746-8FC0-6001-28A495B4D4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3629" y="11857"/>
                        <a:ext cx="3629" cy="1185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59952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2089770" rtl="0" eaLnBrk="1" latinLnBrk="0" hangingPunct="1">
        <a:lnSpc>
          <a:spcPct val="90000"/>
        </a:lnSpc>
        <a:spcBef>
          <a:spcPct val="0"/>
        </a:spcBef>
        <a:buNone/>
        <a:defRPr sz="1005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22442" indent="-522442" algn="l" defTabSz="2089770" rtl="0" eaLnBrk="1" latinLnBrk="0" hangingPunct="1">
        <a:lnSpc>
          <a:spcPct val="90000"/>
        </a:lnSpc>
        <a:spcBef>
          <a:spcPts val="2285"/>
        </a:spcBef>
        <a:buFont typeface="Arial" panose="020B0604020202020204" pitchFamily="34" charset="0"/>
        <a:buChar char="•"/>
        <a:defRPr sz="6399" kern="1200">
          <a:solidFill>
            <a:schemeClr val="tx1"/>
          </a:solidFill>
          <a:latin typeface="+mn-lt"/>
          <a:ea typeface="+mn-ea"/>
          <a:cs typeface="+mn-cs"/>
        </a:defRPr>
      </a:lvl1pPr>
      <a:lvl2pPr marL="1567327" indent="-522442" algn="l" defTabSz="2089770" rtl="0" eaLnBrk="1" latinLnBrk="0" hangingPunct="1">
        <a:lnSpc>
          <a:spcPct val="90000"/>
        </a:lnSpc>
        <a:spcBef>
          <a:spcPts val="1143"/>
        </a:spcBef>
        <a:buFont typeface="Arial" panose="020B0604020202020204" pitchFamily="34" charset="0"/>
        <a:buChar char="•"/>
        <a:defRPr sz="5485" kern="1200">
          <a:solidFill>
            <a:schemeClr val="tx1"/>
          </a:solidFill>
          <a:latin typeface="+mn-lt"/>
          <a:ea typeface="+mn-ea"/>
          <a:cs typeface="+mn-cs"/>
        </a:defRPr>
      </a:lvl2pPr>
      <a:lvl3pPr marL="2612212" indent="-522442" algn="l" defTabSz="2089770" rtl="0" eaLnBrk="1" latinLnBrk="0" hangingPunct="1">
        <a:lnSpc>
          <a:spcPct val="90000"/>
        </a:lnSpc>
        <a:spcBef>
          <a:spcPts val="1143"/>
        </a:spcBef>
        <a:buFont typeface="Arial" panose="020B0604020202020204" pitchFamily="34" charset="0"/>
        <a:buChar char="•"/>
        <a:defRPr sz="4571" kern="1200">
          <a:solidFill>
            <a:schemeClr val="tx1"/>
          </a:solidFill>
          <a:latin typeface="+mn-lt"/>
          <a:ea typeface="+mn-ea"/>
          <a:cs typeface="+mn-cs"/>
        </a:defRPr>
      </a:lvl3pPr>
      <a:lvl4pPr marL="3657097" indent="-522442" algn="l" defTabSz="2089770" rtl="0" eaLnBrk="1" latinLnBrk="0" hangingPunct="1">
        <a:lnSpc>
          <a:spcPct val="90000"/>
        </a:lnSpc>
        <a:spcBef>
          <a:spcPts val="1143"/>
        </a:spcBef>
        <a:buFont typeface="Arial" panose="020B0604020202020204" pitchFamily="34" charset="0"/>
        <a:buChar char="•"/>
        <a:defRPr sz="4114" kern="1200">
          <a:solidFill>
            <a:schemeClr val="tx1"/>
          </a:solidFill>
          <a:latin typeface="+mn-lt"/>
          <a:ea typeface="+mn-ea"/>
          <a:cs typeface="+mn-cs"/>
        </a:defRPr>
      </a:lvl4pPr>
      <a:lvl5pPr marL="4701982" indent="-522442" algn="l" defTabSz="2089770" rtl="0" eaLnBrk="1" latinLnBrk="0" hangingPunct="1">
        <a:lnSpc>
          <a:spcPct val="90000"/>
        </a:lnSpc>
        <a:spcBef>
          <a:spcPts val="1143"/>
        </a:spcBef>
        <a:buFont typeface="Arial" panose="020B0604020202020204" pitchFamily="34" charset="0"/>
        <a:buChar char="•"/>
        <a:defRPr sz="4114" kern="1200">
          <a:solidFill>
            <a:schemeClr val="tx1"/>
          </a:solidFill>
          <a:latin typeface="+mn-lt"/>
          <a:ea typeface="+mn-ea"/>
          <a:cs typeface="+mn-cs"/>
        </a:defRPr>
      </a:lvl5pPr>
      <a:lvl6pPr marL="5746867" indent="-522442" algn="l" defTabSz="2089770" rtl="0" eaLnBrk="1" latinLnBrk="0" hangingPunct="1">
        <a:lnSpc>
          <a:spcPct val="90000"/>
        </a:lnSpc>
        <a:spcBef>
          <a:spcPts val="1143"/>
        </a:spcBef>
        <a:buFont typeface="Arial" panose="020B0604020202020204" pitchFamily="34" charset="0"/>
        <a:buChar char="•"/>
        <a:defRPr sz="4114" kern="1200">
          <a:solidFill>
            <a:schemeClr val="tx1"/>
          </a:solidFill>
          <a:latin typeface="+mn-lt"/>
          <a:ea typeface="+mn-ea"/>
          <a:cs typeface="+mn-cs"/>
        </a:defRPr>
      </a:lvl6pPr>
      <a:lvl7pPr marL="6791752" indent="-522442" algn="l" defTabSz="2089770" rtl="0" eaLnBrk="1" latinLnBrk="0" hangingPunct="1">
        <a:lnSpc>
          <a:spcPct val="90000"/>
        </a:lnSpc>
        <a:spcBef>
          <a:spcPts val="1143"/>
        </a:spcBef>
        <a:buFont typeface="Arial" panose="020B0604020202020204" pitchFamily="34" charset="0"/>
        <a:buChar char="•"/>
        <a:defRPr sz="4114" kern="1200">
          <a:solidFill>
            <a:schemeClr val="tx1"/>
          </a:solidFill>
          <a:latin typeface="+mn-lt"/>
          <a:ea typeface="+mn-ea"/>
          <a:cs typeface="+mn-cs"/>
        </a:defRPr>
      </a:lvl7pPr>
      <a:lvl8pPr marL="7836637" indent="-522442" algn="l" defTabSz="2089770" rtl="0" eaLnBrk="1" latinLnBrk="0" hangingPunct="1">
        <a:lnSpc>
          <a:spcPct val="90000"/>
        </a:lnSpc>
        <a:spcBef>
          <a:spcPts val="1143"/>
        </a:spcBef>
        <a:buFont typeface="Arial" panose="020B0604020202020204" pitchFamily="34" charset="0"/>
        <a:buChar char="•"/>
        <a:defRPr sz="4114" kern="1200">
          <a:solidFill>
            <a:schemeClr val="tx1"/>
          </a:solidFill>
          <a:latin typeface="+mn-lt"/>
          <a:ea typeface="+mn-ea"/>
          <a:cs typeface="+mn-cs"/>
        </a:defRPr>
      </a:lvl8pPr>
      <a:lvl9pPr marL="8881521" indent="-522442" algn="l" defTabSz="2089770" rtl="0" eaLnBrk="1" latinLnBrk="0" hangingPunct="1">
        <a:lnSpc>
          <a:spcPct val="90000"/>
        </a:lnSpc>
        <a:spcBef>
          <a:spcPts val="1143"/>
        </a:spcBef>
        <a:buFont typeface="Arial" panose="020B0604020202020204" pitchFamily="34" charset="0"/>
        <a:buChar char="•"/>
        <a:defRPr sz="41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089770" rtl="0" eaLnBrk="1" latinLnBrk="0" hangingPunct="1">
        <a:defRPr sz="4114" kern="1200">
          <a:solidFill>
            <a:schemeClr val="tx1"/>
          </a:solidFill>
          <a:latin typeface="+mn-lt"/>
          <a:ea typeface="+mn-ea"/>
          <a:cs typeface="+mn-cs"/>
        </a:defRPr>
      </a:lvl1pPr>
      <a:lvl2pPr marL="1044885" algn="l" defTabSz="2089770" rtl="0" eaLnBrk="1" latinLnBrk="0" hangingPunct="1">
        <a:defRPr sz="4114" kern="1200">
          <a:solidFill>
            <a:schemeClr val="tx1"/>
          </a:solidFill>
          <a:latin typeface="+mn-lt"/>
          <a:ea typeface="+mn-ea"/>
          <a:cs typeface="+mn-cs"/>
        </a:defRPr>
      </a:lvl2pPr>
      <a:lvl3pPr marL="2089770" algn="l" defTabSz="2089770" rtl="0" eaLnBrk="1" latinLnBrk="0" hangingPunct="1">
        <a:defRPr sz="4114" kern="1200">
          <a:solidFill>
            <a:schemeClr val="tx1"/>
          </a:solidFill>
          <a:latin typeface="+mn-lt"/>
          <a:ea typeface="+mn-ea"/>
          <a:cs typeface="+mn-cs"/>
        </a:defRPr>
      </a:lvl3pPr>
      <a:lvl4pPr marL="3134655" algn="l" defTabSz="2089770" rtl="0" eaLnBrk="1" latinLnBrk="0" hangingPunct="1">
        <a:defRPr sz="4114" kern="1200">
          <a:solidFill>
            <a:schemeClr val="tx1"/>
          </a:solidFill>
          <a:latin typeface="+mn-lt"/>
          <a:ea typeface="+mn-ea"/>
          <a:cs typeface="+mn-cs"/>
        </a:defRPr>
      </a:lvl4pPr>
      <a:lvl5pPr marL="4179540" algn="l" defTabSz="2089770" rtl="0" eaLnBrk="1" latinLnBrk="0" hangingPunct="1">
        <a:defRPr sz="4114" kern="1200">
          <a:solidFill>
            <a:schemeClr val="tx1"/>
          </a:solidFill>
          <a:latin typeface="+mn-lt"/>
          <a:ea typeface="+mn-ea"/>
          <a:cs typeface="+mn-cs"/>
        </a:defRPr>
      </a:lvl5pPr>
      <a:lvl6pPr marL="5224424" algn="l" defTabSz="2089770" rtl="0" eaLnBrk="1" latinLnBrk="0" hangingPunct="1">
        <a:defRPr sz="4114" kern="1200">
          <a:solidFill>
            <a:schemeClr val="tx1"/>
          </a:solidFill>
          <a:latin typeface="+mn-lt"/>
          <a:ea typeface="+mn-ea"/>
          <a:cs typeface="+mn-cs"/>
        </a:defRPr>
      </a:lvl6pPr>
      <a:lvl7pPr marL="6269309" algn="l" defTabSz="2089770" rtl="0" eaLnBrk="1" latinLnBrk="0" hangingPunct="1">
        <a:defRPr sz="4114" kern="1200">
          <a:solidFill>
            <a:schemeClr val="tx1"/>
          </a:solidFill>
          <a:latin typeface="+mn-lt"/>
          <a:ea typeface="+mn-ea"/>
          <a:cs typeface="+mn-cs"/>
        </a:defRPr>
      </a:lvl7pPr>
      <a:lvl8pPr marL="7314194" algn="l" defTabSz="2089770" rtl="0" eaLnBrk="1" latinLnBrk="0" hangingPunct="1">
        <a:defRPr sz="4114" kern="1200">
          <a:solidFill>
            <a:schemeClr val="tx1"/>
          </a:solidFill>
          <a:latin typeface="+mn-lt"/>
          <a:ea typeface="+mn-ea"/>
          <a:cs typeface="+mn-cs"/>
        </a:defRPr>
      </a:lvl8pPr>
      <a:lvl9pPr marL="8359079" algn="l" defTabSz="2089770" rtl="0" eaLnBrk="1" latinLnBrk="0" hangingPunct="1">
        <a:defRPr sz="41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6" Type="http://schemas.openxmlformats.org/officeDocument/2006/relationships/tags" Target="../tags/tag28.xml"/><Relationship Id="rId21" Type="http://schemas.openxmlformats.org/officeDocument/2006/relationships/tags" Target="../tags/tag23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63" Type="http://schemas.openxmlformats.org/officeDocument/2006/relationships/image" Target="../media/image3.png"/><Relationship Id="rId68" Type="http://schemas.openxmlformats.org/officeDocument/2006/relationships/chart" Target="../charts/chart1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66" Type="http://schemas.openxmlformats.org/officeDocument/2006/relationships/hyperlink" Target="http://www.worldpop.org/" TargetMode="External"/><Relationship Id="rId5" Type="http://schemas.openxmlformats.org/officeDocument/2006/relationships/tags" Target="../tags/tag7.xml"/><Relationship Id="rId61" Type="http://schemas.openxmlformats.org/officeDocument/2006/relationships/image" Target="../media/image1.emf"/><Relationship Id="rId19" Type="http://schemas.openxmlformats.org/officeDocument/2006/relationships/tags" Target="../tags/tag2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tags" Target="../tags/tag58.xml"/><Relationship Id="rId64" Type="http://schemas.openxmlformats.org/officeDocument/2006/relationships/hyperlink" Target="https://dhis2nigeria.org.ng/dhis/dhis-web-dashboard/#/" TargetMode="External"/><Relationship Id="rId69" Type="http://schemas.openxmlformats.org/officeDocument/2006/relationships/chart" Target="../charts/chart2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image" Target="../media/image7.png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slideLayout" Target="../slideLayouts/slideLayout1.xml"/><Relationship Id="rId67" Type="http://schemas.openxmlformats.org/officeDocument/2006/relationships/image" Target="../media/image4.jpeg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62" Type="http://schemas.openxmlformats.org/officeDocument/2006/relationships/image" Target="../media/image2.png"/><Relationship Id="rId70" Type="http://schemas.openxmlformats.org/officeDocument/2006/relationships/image" Target="../media/image5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Relationship Id="rId10" Type="http://schemas.openxmlformats.org/officeDocument/2006/relationships/tags" Target="../tags/tag12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oleObject" Target="../embeddings/oleObject2.bin"/><Relationship Id="rId65" Type="http://schemas.openxmlformats.org/officeDocument/2006/relationships/hyperlink" Target="https://ngdc.noaa.gov/eog/viirs/index.html" TargetMode="External"/><Relationship Id="rId73" Type="http://schemas.openxmlformats.org/officeDocument/2006/relationships/image" Target="../media/image8.png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9" Type="http://schemas.openxmlformats.org/officeDocument/2006/relationships/tags" Target="../tags/tag41.xml"/><Relationship Id="rId34" Type="http://schemas.openxmlformats.org/officeDocument/2006/relationships/tags" Target="../tags/tag36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" Type="http://schemas.openxmlformats.org/officeDocument/2006/relationships/tags" Target="../tags/tag9.xml"/><Relationship Id="rId71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7C46227-4819-37E8-8AEC-B3744DD257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106705"/>
              </p:ext>
            </p:extLst>
          </p:nvPr>
        </p:nvGraphicFramePr>
        <p:xfrm>
          <a:off x="3629" y="17770136"/>
          <a:ext cx="3629" cy="362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416" imgH="416" progId="TCLayout.ActiveDocument.1">
                  <p:embed/>
                </p:oleObj>
              </mc:Choice>
              <mc:Fallback>
                <p:oleObj name="think-cell Slide" r:id="rId60" imgW="416" imgH="41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C46227-4819-37E8-8AEC-B3744DD257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3629" y="17770136"/>
                        <a:ext cx="3629" cy="362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Rectangle 105">
            <a:extLst>
              <a:ext uri="{FF2B5EF4-FFF2-40B4-BE49-F238E27FC236}">
                <a16:creationId xmlns:a16="http://schemas.microsoft.com/office/drawing/2014/main" id="{FFF11E01-E19E-E662-C127-3CD73569F986}"/>
              </a:ext>
            </a:extLst>
          </p:cNvPr>
          <p:cNvSpPr/>
          <p:nvPr/>
        </p:nvSpPr>
        <p:spPr>
          <a:xfrm>
            <a:off x="253203" y="6289103"/>
            <a:ext cx="20470022" cy="42156271"/>
          </a:xfrm>
          <a:prstGeom prst="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2960"/>
              </a:solidFill>
              <a:effectLst/>
              <a:uLnTx/>
              <a:uFillTx/>
              <a:latin typeface="Trebuchet MS" panose="020B0603020202020204" pitchFamily="34" charset="0"/>
              <a:ea typeface="ＭＳ Ｐゴシック"/>
              <a:cs typeface="+mn-cs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2EF9DBD6-9FB6-21D3-5414-27B6A48CD578}"/>
              </a:ext>
            </a:extLst>
          </p:cNvPr>
          <p:cNvSpPr/>
          <p:nvPr/>
        </p:nvSpPr>
        <p:spPr>
          <a:xfrm>
            <a:off x="218399" y="307556"/>
            <a:ext cx="20470022" cy="5757459"/>
          </a:xfrm>
          <a:prstGeom prst="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145E301F-C021-2E67-080D-8C475367D2C7}"/>
              </a:ext>
            </a:extLst>
          </p:cNvPr>
          <p:cNvSpPr txBox="1">
            <a:spLocks/>
          </p:cNvSpPr>
          <p:nvPr/>
        </p:nvSpPr>
        <p:spPr>
          <a:xfrm>
            <a:off x="279346" y="7325961"/>
            <a:ext cx="10169579" cy="734288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13800" tIns="513800" rIns="513800" bIns="513800">
            <a:spAutoFit/>
          </a:bodyPr>
          <a:lstStyle>
            <a:lvl1pPr marL="0" indent="0" algn="l" defTabSz="2687936" rtl="0" eaLnBrk="1" latinLnBrk="0" hangingPunct="1">
              <a:spcBef>
                <a:spcPct val="20000"/>
              </a:spcBef>
              <a:buFont typeface="Arial" pitchFamily="34" charset="0"/>
              <a:buNone/>
              <a:tabLst/>
              <a:defRPr lang="en-US" sz="31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252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tabLst/>
              <a:defRPr lang="en-US" sz="189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1575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»"/>
              <a:tabLst/>
              <a:defRPr lang="en-US" sz="1575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91828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735795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79764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23733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NG" sz="32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In 2010, Nigeria adopted the use of web-based software District Health Information System, V.2 (DHIS2) as the platform for the National Health Management Information System. The platform supports real-time data reporting and promotes government ownership and accountability</a:t>
            </a:r>
            <a:r>
              <a:rPr lang="en-US" sz="32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. This platform was instrumental in the mapping and identification of zero-dose children in wards and communities across the country. Recall </a:t>
            </a:r>
            <a:r>
              <a:rPr lang="en-NG" sz="32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2021 WUENIC estimate</a:t>
            </a:r>
            <a:r>
              <a:rPr lang="en-US" sz="32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s</a:t>
            </a:r>
            <a:r>
              <a:rPr lang="en-NG" sz="32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 Nigeria as the second highest with 2.2m ZD children</a:t>
            </a:r>
            <a:r>
              <a:rPr lang="en-US" sz="32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 with 30% of surviving infants being zero dose. </a:t>
            </a:r>
            <a:endParaRPr lang="en-NG" sz="3200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 Placeholder 5">
            <a:extLst>
              <a:ext uri="{FF2B5EF4-FFF2-40B4-BE49-F238E27FC236}">
                <a16:creationId xmlns:a16="http://schemas.microsoft.com/office/drawing/2014/main" id="{EBF1B738-EE02-E3AE-8BA4-58A6AF783CA6}"/>
              </a:ext>
            </a:extLst>
          </p:cNvPr>
          <p:cNvSpPr txBox="1">
            <a:spLocks/>
          </p:cNvSpPr>
          <p:nvPr/>
        </p:nvSpPr>
        <p:spPr>
          <a:xfrm>
            <a:off x="203146" y="6397445"/>
            <a:ext cx="10169579" cy="784061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>
            <a:lvl1pPr marL="0" indent="0" algn="ctr" defTabSz="2687936" rtl="0" eaLnBrk="1" latinLnBrk="0" hangingPunct="1">
              <a:spcBef>
                <a:spcPct val="20000"/>
              </a:spcBef>
              <a:buFont typeface="Arial" pitchFamily="34" charset="0"/>
              <a:buNone/>
              <a:tabLst/>
              <a:defRPr lang="en-US" sz="3150" b="1" kern="1200" dirty="0">
                <a:solidFill>
                  <a:schemeClr val="bg1">
                    <a:lumMod val="9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5039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tabLst/>
              <a:defRPr lang="en-US" sz="31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252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»"/>
              <a:tabLst/>
              <a:defRPr lang="en-US"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91828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735795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79764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23733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495" dirty="0">
                <a:latin typeface="Trebuchet MS" panose="020B0603020202020204" pitchFamily="34" charset="0"/>
              </a:rPr>
              <a:t>BACKGROUND</a:t>
            </a:r>
            <a:endParaRPr lang="en-NG" sz="4495" dirty="0">
              <a:latin typeface="Trebuchet MS" panose="020B0603020202020204" pitchFamily="34" charset="0"/>
            </a:endParaRPr>
          </a:p>
        </p:txBody>
      </p:sp>
      <p:sp>
        <p:nvSpPr>
          <p:cNvPr id="90" name="Text Placeholder 16">
            <a:extLst>
              <a:ext uri="{FF2B5EF4-FFF2-40B4-BE49-F238E27FC236}">
                <a16:creationId xmlns:a16="http://schemas.microsoft.com/office/drawing/2014/main" id="{EB5E4A20-94C4-A01F-0953-D27B1C53A343}"/>
              </a:ext>
            </a:extLst>
          </p:cNvPr>
          <p:cNvSpPr txBox="1">
            <a:spLocks/>
          </p:cNvSpPr>
          <p:nvPr/>
        </p:nvSpPr>
        <p:spPr>
          <a:xfrm>
            <a:off x="10661928" y="35768020"/>
            <a:ext cx="9945461" cy="54696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13800" tIns="513800" rIns="513800" bIns="513800">
            <a:spAutoFit/>
          </a:bodyPr>
          <a:lstStyle>
            <a:lvl1pPr marL="0" indent="0" algn="l" defTabSz="2687936" rtl="0" eaLnBrk="1" latinLnBrk="0" hangingPunct="1">
              <a:spcBef>
                <a:spcPct val="20000"/>
              </a:spcBef>
              <a:buFont typeface="Arial" pitchFamily="34" charset="0"/>
              <a:buNone/>
              <a:tabLst/>
              <a:defRPr lang="en-US" sz="31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252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tabLst/>
              <a:defRPr lang="en-US" sz="189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1575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»"/>
              <a:tabLst/>
              <a:defRPr lang="en-US" sz="1575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91828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735795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79764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23733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843"/>
              </a:spcBef>
            </a:pPr>
            <a:r>
              <a:rPr lang="en-US" sz="3200" dirty="0">
                <a:effectLst/>
                <a:ea typeface="Calibri" panose="020F0502020204030204" pitchFamily="34" charset="0"/>
              </a:rPr>
              <a:t>This study highlights the pivotal role played by the District Health Information System, Version 2 (DHIS2), in Nigeria's comprehensive approach to addressing the challenge of zero-dose children. The subsequent deployment of targeted intervention strategies, informed by granular information gathered through DHIS2 has resulted in a significant increase in vaccination coverage among this vulnerable population</a:t>
            </a:r>
            <a:endParaRPr lang="en-US" sz="5400" dirty="0"/>
          </a:p>
        </p:txBody>
      </p:sp>
      <p:sp>
        <p:nvSpPr>
          <p:cNvPr id="91" name="Text Placeholder 5">
            <a:extLst>
              <a:ext uri="{FF2B5EF4-FFF2-40B4-BE49-F238E27FC236}">
                <a16:creationId xmlns:a16="http://schemas.microsoft.com/office/drawing/2014/main" id="{0CCA9730-7438-8AF8-B3B8-A2B404518AD8}"/>
              </a:ext>
            </a:extLst>
          </p:cNvPr>
          <p:cNvSpPr txBox="1">
            <a:spLocks/>
          </p:cNvSpPr>
          <p:nvPr/>
        </p:nvSpPr>
        <p:spPr>
          <a:xfrm>
            <a:off x="10756019" y="35466225"/>
            <a:ext cx="9605889" cy="784061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>
            <a:lvl1pPr marL="0" indent="0" algn="ctr" defTabSz="2687936" rtl="0" eaLnBrk="1" latinLnBrk="0" hangingPunct="1">
              <a:spcBef>
                <a:spcPct val="20000"/>
              </a:spcBef>
              <a:buFont typeface="Arial" pitchFamily="34" charset="0"/>
              <a:buNone/>
              <a:tabLst/>
              <a:defRPr lang="en-US" sz="3150" b="1" kern="1200" dirty="0">
                <a:solidFill>
                  <a:schemeClr val="bg1">
                    <a:lumMod val="9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5039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tabLst/>
              <a:defRPr lang="en-US" sz="31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252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»"/>
              <a:tabLst/>
              <a:defRPr lang="en-US"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91828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735795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79764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23733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495" dirty="0">
                <a:solidFill>
                  <a:schemeClr val="bg1"/>
                </a:solidFill>
                <a:latin typeface="Trebuchet MS" panose="020B0603020202020204" pitchFamily="34" charset="0"/>
              </a:rPr>
              <a:t>CONCLUSION</a:t>
            </a:r>
            <a:endParaRPr lang="en-NG" sz="4495" dirty="0">
              <a:solidFill>
                <a:schemeClr val="bg1"/>
              </a:solidFill>
              <a:latin typeface="Trebuchet MS" panose="020B0603020202020204" pitchFamily="34" charset="0"/>
            </a:endParaRPr>
          </a:p>
        </p:txBody>
      </p:sp>
      <p:sp>
        <p:nvSpPr>
          <p:cNvPr id="98" name="Title 1">
            <a:extLst>
              <a:ext uri="{FF2B5EF4-FFF2-40B4-BE49-F238E27FC236}">
                <a16:creationId xmlns:a16="http://schemas.microsoft.com/office/drawing/2014/main" id="{84F1CD3F-9002-F4CB-25C8-5AF94A1944E5}"/>
              </a:ext>
            </a:extLst>
          </p:cNvPr>
          <p:cNvSpPr txBox="1">
            <a:spLocks/>
          </p:cNvSpPr>
          <p:nvPr/>
        </p:nvSpPr>
        <p:spPr>
          <a:xfrm>
            <a:off x="3031883" y="506891"/>
            <a:ext cx="14050144" cy="233385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20897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3712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GB" sz="4800" b="1" dirty="0">
                <a:effectLst/>
                <a:latin typeface="Arial" panose="020B0604020202020204" pitchFamily="34" charset="0"/>
                <a:ea typeface="Aptos" panose="020B0004020202020204" pitchFamily="34" charset="0"/>
              </a:rPr>
              <a:t>Triangulating District Health Information System (DHIS2) with other data sources to Map Zero-dose Children in Nigeria</a:t>
            </a:r>
            <a:endParaRPr lang="en-NG" sz="4800" b="1" dirty="0">
              <a:solidFill>
                <a:srgbClr val="002060"/>
              </a:solidFill>
              <a:latin typeface="Trebuchet MS" panose="020B06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9" name="Title 1">
            <a:extLst>
              <a:ext uri="{FF2B5EF4-FFF2-40B4-BE49-F238E27FC236}">
                <a16:creationId xmlns:a16="http://schemas.microsoft.com/office/drawing/2014/main" id="{C70391D6-BFD3-63F1-7F2E-8808AF5632FE}"/>
              </a:ext>
            </a:extLst>
          </p:cNvPr>
          <p:cNvSpPr txBox="1">
            <a:spLocks/>
          </p:cNvSpPr>
          <p:nvPr/>
        </p:nvSpPr>
        <p:spPr>
          <a:xfrm>
            <a:off x="3636670" y="2632492"/>
            <a:ext cx="14714220" cy="127526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67499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772" b="1" i="0" kern="1200">
                <a:solidFill>
                  <a:schemeClr val="tx2"/>
                </a:solidFill>
                <a:latin typeface="+mj-lt"/>
                <a:ea typeface="Trebuchet MS" panose="020B0703020202090204" pitchFamily="34" charset="0"/>
                <a:cs typeface="+mj-cs"/>
              </a:defRPr>
            </a:lvl1pPr>
          </a:lstStyle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US" sz="3200" i="1" u="sng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ince Friday</a:t>
            </a:r>
            <a:r>
              <a:rPr lang="en-NG" sz="3200" i="1" baseline="300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</a:t>
            </a:r>
            <a:r>
              <a:rPr lang="en-US" sz="3200" b="0" i="1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Aisha Umar</a:t>
            </a:r>
            <a:r>
              <a:rPr lang="en-US" sz="3200" b="0" i="1" baseline="300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</a:t>
            </a:r>
            <a:r>
              <a:rPr lang="en-US" sz="3200" b="0" i="1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Aminu Mohammed</a:t>
            </a:r>
            <a:r>
              <a:rPr lang="en-US" sz="3200" b="0" i="1" baseline="300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</a:t>
            </a:r>
            <a:r>
              <a:rPr lang="en-US" sz="3200" b="0" i="1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Nchinjoh Sangwe Clovis</a:t>
            </a:r>
            <a:r>
              <a:rPr lang="en-US" sz="3200" b="0" i="1" baseline="300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,2</a:t>
            </a:r>
            <a:r>
              <a:rPr lang="en-US" sz="3200" b="0" i="1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Kikelomo Lambo</a:t>
            </a:r>
            <a:r>
              <a:rPr lang="en-US" sz="3200" b="0" i="1" baseline="300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</a:t>
            </a:r>
            <a:r>
              <a:rPr lang="en-US" sz="3200" b="0" i="1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Sulaiman Etamesor</a:t>
            </a:r>
            <a:r>
              <a:rPr lang="en-US" sz="3200" b="0" i="1" baseline="30000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</a:t>
            </a:r>
            <a:r>
              <a:rPr lang="en-US" sz="3200" b="0" i="1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Yusuf Yusufari</a:t>
            </a:r>
            <a:r>
              <a:rPr lang="en-US" sz="3200" b="0" i="1" baseline="300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</a:t>
            </a:r>
            <a:r>
              <a:rPr lang="en-US" sz="3200" b="0" i="1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Owens Wiwa</a:t>
            </a:r>
            <a:r>
              <a:rPr lang="en-NG" sz="3200" b="0" i="1" baseline="30000" dirty="0">
                <a:solidFill>
                  <a:srgbClr val="000000"/>
                </a:solidFill>
                <a:effectLst/>
                <a:latin typeface="Aptos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</a:t>
            </a:r>
            <a:r>
              <a:rPr lang="en-US" sz="3200" b="0" i="1" dirty="0">
                <a:effectLst/>
                <a:latin typeface="Aptos" panose="020B00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en-NG" sz="3200" b="0" i="1" dirty="0">
              <a:effectLst/>
              <a:latin typeface="Aptos" panose="020B00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00" name="Title 1">
            <a:extLst>
              <a:ext uri="{FF2B5EF4-FFF2-40B4-BE49-F238E27FC236}">
                <a16:creationId xmlns:a16="http://schemas.microsoft.com/office/drawing/2014/main" id="{6962DC2D-0413-89C5-341C-7E1F6F932D86}"/>
              </a:ext>
            </a:extLst>
          </p:cNvPr>
          <p:cNvSpPr txBox="1">
            <a:spLocks/>
          </p:cNvSpPr>
          <p:nvPr/>
        </p:nvSpPr>
        <p:spPr>
          <a:xfrm>
            <a:off x="477047" y="4296242"/>
            <a:ext cx="19943756" cy="1724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674993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1772" b="1" i="0" kern="1200">
                <a:solidFill>
                  <a:schemeClr val="tx2"/>
                </a:solidFill>
                <a:latin typeface="+mj-lt"/>
                <a:ea typeface="Trebuchet MS" panose="020B0703020202090204" pitchFamily="34" charset="0"/>
                <a:cs typeface="+mj-cs"/>
              </a:defRPr>
            </a:lvl1pPr>
          </a:lstStyle>
          <a:p>
            <a:pPr algn="ctr"/>
            <a:r>
              <a:rPr lang="en-US" sz="2800" i="1" baseline="30000" dirty="0">
                <a:solidFill>
                  <a:schemeClr val="tx1"/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r>
              <a:rPr lang="en-US" sz="2800" b="0" dirty="0">
                <a:solidFill>
                  <a:schemeClr val="tx1"/>
                </a:solidFill>
                <a:latin typeface="Trebuchet MS" panose="020B0603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linton Health Access Initiative. </a:t>
            </a:r>
          </a:p>
          <a:p>
            <a:pPr algn="ctr"/>
            <a:r>
              <a:rPr lang="en-US" sz="2800" b="0" i="1" baseline="30000" dirty="0">
                <a:solidFill>
                  <a:schemeClr val="tx1"/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en-US" sz="2800" b="0" dirty="0">
                <a:solidFill>
                  <a:schemeClr val="tx1"/>
                </a:solidFill>
                <a:latin typeface="Trebuchet MS" panose="020B0603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epartment of Public Health, University of Free State, Bloemfontein, South Africa </a:t>
            </a:r>
          </a:p>
          <a:p>
            <a:pPr algn="ctr"/>
            <a:r>
              <a:rPr lang="en-US" sz="2800" b="0" i="1" baseline="30000" dirty="0">
                <a:solidFill>
                  <a:schemeClr val="tx1"/>
                </a:solidFill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en-US" sz="2800" b="0" dirty="0">
                <a:solidFill>
                  <a:schemeClr val="tx1"/>
                </a:solidFill>
                <a:latin typeface="Trebuchet MS" panose="020B0603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ational Primary Healthcare Development Agency.</a:t>
            </a:r>
          </a:p>
          <a:p>
            <a:pPr algn="ctr"/>
            <a:r>
              <a:rPr lang="en-US" sz="3600" b="0" baseline="30000" dirty="0">
                <a:solidFill>
                  <a:schemeClr val="tx1"/>
                </a:solidFill>
                <a:latin typeface="Trebuchet MS" panose="020B0603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4</a:t>
            </a:r>
            <a:r>
              <a:rPr lang="en-US" sz="2800" b="0" dirty="0">
                <a:solidFill>
                  <a:schemeClr val="tx1"/>
                </a:solidFill>
                <a:latin typeface="Trebuchet MS" panose="020B0603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ill and Melinda Gates Foundation </a:t>
            </a:r>
            <a:endParaRPr lang="en-NG" sz="2800" b="0" dirty="0">
              <a:solidFill>
                <a:schemeClr val="tx1"/>
              </a:solidFill>
              <a:latin typeface="Trebuchet MS" panose="020B0603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03" name="Picture 102" descr="A logo of a health care company&#10;&#10;Description automatically generated">
            <a:extLst>
              <a:ext uri="{FF2B5EF4-FFF2-40B4-BE49-F238E27FC236}">
                <a16:creationId xmlns:a16="http://schemas.microsoft.com/office/drawing/2014/main" id="{1A98AB2F-0AC1-2AF9-0520-867F1F9436E9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003" y="439610"/>
            <a:ext cx="3223637" cy="2944255"/>
          </a:xfrm>
          <a:prstGeom prst="rect">
            <a:avLst/>
          </a:prstGeom>
        </p:spPr>
      </p:pic>
      <p:pic>
        <p:nvPicPr>
          <p:cNvPr id="105" name="Picture 104" descr="A logo with stars on it&#10;&#10;Description automatically generated">
            <a:extLst>
              <a:ext uri="{FF2B5EF4-FFF2-40B4-BE49-F238E27FC236}">
                <a16:creationId xmlns:a16="http://schemas.microsoft.com/office/drawing/2014/main" id="{95793351-BDB3-AE9E-691D-2C7D7092335B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77160" y="643540"/>
            <a:ext cx="3746392" cy="2004320"/>
          </a:xfrm>
          <a:prstGeom prst="rect">
            <a:avLst/>
          </a:prstGeom>
        </p:spPr>
      </p:pic>
      <p:sp>
        <p:nvSpPr>
          <p:cNvPr id="107" name="Rectangle 106">
            <a:extLst>
              <a:ext uri="{FF2B5EF4-FFF2-40B4-BE49-F238E27FC236}">
                <a16:creationId xmlns:a16="http://schemas.microsoft.com/office/drawing/2014/main" id="{59206EFB-CCC1-AD98-F149-CB137FAD7204}"/>
              </a:ext>
            </a:extLst>
          </p:cNvPr>
          <p:cNvSpPr/>
          <p:nvPr/>
        </p:nvSpPr>
        <p:spPr>
          <a:xfrm>
            <a:off x="2994397" y="74037093"/>
            <a:ext cx="8572489" cy="730632"/>
          </a:xfrm>
          <a:prstGeom prst="rect">
            <a:avLst/>
          </a:prstGeom>
          <a:solidFill>
            <a:schemeClr val="bg1"/>
          </a:solidFill>
          <a:ln w="38100"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E80E226B-9C37-7B7C-A864-B144BE3B4895}"/>
              </a:ext>
            </a:extLst>
          </p:cNvPr>
          <p:cNvCxnSpPr/>
          <p:nvPr/>
        </p:nvCxnSpPr>
        <p:spPr>
          <a:xfrm>
            <a:off x="438947" y="4143251"/>
            <a:ext cx="20076699" cy="0"/>
          </a:xfrm>
          <a:prstGeom prst="line">
            <a:avLst/>
          </a:prstGeom>
          <a:ln w="38100">
            <a:solidFill>
              <a:schemeClr val="tx1"/>
            </a:solidFill>
            <a:prstDash val="lgDashDotDot"/>
            <a:headEnd type="diamond" w="med" len="med"/>
            <a:tailEnd type="diamond" w="med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3" name="Text Placeholder 16">
            <a:extLst>
              <a:ext uri="{FF2B5EF4-FFF2-40B4-BE49-F238E27FC236}">
                <a16:creationId xmlns:a16="http://schemas.microsoft.com/office/drawing/2014/main" id="{E42368DC-0E95-F27D-8897-9367CD759313}"/>
              </a:ext>
            </a:extLst>
          </p:cNvPr>
          <p:cNvSpPr txBox="1">
            <a:spLocks/>
          </p:cNvSpPr>
          <p:nvPr/>
        </p:nvSpPr>
        <p:spPr>
          <a:xfrm>
            <a:off x="301062" y="27657015"/>
            <a:ext cx="10360866" cy="44847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13800" tIns="513800" rIns="513800" bIns="513800">
            <a:spAutoFit/>
          </a:bodyPr>
          <a:lstStyle>
            <a:lvl1pPr marL="0" indent="0" algn="l" defTabSz="2687936" rtl="0" eaLnBrk="1" latinLnBrk="0" hangingPunct="1">
              <a:spcBef>
                <a:spcPct val="20000"/>
              </a:spcBef>
              <a:buFont typeface="Arial" pitchFamily="34" charset="0"/>
              <a:buNone/>
              <a:tabLst/>
              <a:defRPr lang="en-US" sz="31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252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tabLst/>
              <a:defRPr lang="en-US" sz="189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1575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»"/>
              <a:tabLst/>
              <a:defRPr lang="en-US" sz="1575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91828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735795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79764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23733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42229" indent="-642229" algn="just">
              <a:spcBef>
                <a:spcPts val="843"/>
              </a:spcBef>
              <a:buFont typeface="Wingdings" panose="05000000000000000000" pitchFamily="2" charset="2"/>
              <a:buChar char="§"/>
            </a:pPr>
            <a:r>
              <a:rPr lang="en-US" sz="3200" dirty="0">
                <a:ea typeface="MS PGothic" panose="020B0600070205080204" pitchFamily="34" charset="-128"/>
              </a:rPr>
              <a:t>The country reviewed and triangulated numerous potential pathways as well as conducting sensitivity analysis </a:t>
            </a:r>
            <a:r>
              <a:rPr lang="en-US" sz="3200" dirty="0">
                <a:effectLst/>
                <a:ea typeface="Calibri" panose="020F0502020204030204" pitchFamily="34" charset="0"/>
                <a:cs typeface="Arial" panose="020B0604020202020204" pitchFamily="34" charset="0"/>
              </a:rPr>
              <a:t>from various sources including DHIS2, MICS/NICS 2021, cVDPV2 case report, Measles outbreak and Geospatial analysis matching them against target population and contextual peculiarities. </a:t>
            </a:r>
            <a:endParaRPr lang="en-NG" sz="3200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14" name="Text Placeholder 5">
            <a:extLst>
              <a:ext uri="{FF2B5EF4-FFF2-40B4-BE49-F238E27FC236}">
                <a16:creationId xmlns:a16="http://schemas.microsoft.com/office/drawing/2014/main" id="{2B8B396D-F415-1CB5-D809-A55A69F8FE80}"/>
              </a:ext>
            </a:extLst>
          </p:cNvPr>
          <p:cNvSpPr txBox="1">
            <a:spLocks/>
          </p:cNvSpPr>
          <p:nvPr/>
        </p:nvSpPr>
        <p:spPr>
          <a:xfrm>
            <a:off x="238443" y="26824800"/>
            <a:ext cx="10458782" cy="793553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>
            <a:lvl1pPr marL="0" indent="0" algn="ctr" defTabSz="2687936" rtl="0" eaLnBrk="1" latinLnBrk="0" hangingPunct="1">
              <a:spcBef>
                <a:spcPct val="20000"/>
              </a:spcBef>
              <a:buFont typeface="Arial" pitchFamily="34" charset="0"/>
              <a:buNone/>
              <a:tabLst/>
              <a:defRPr lang="en-US" sz="3150" b="1" kern="1200" dirty="0">
                <a:solidFill>
                  <a:schemeClr val="bg1">
                    <a:lumMod val="9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5039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tabLst/>
              <a:defRPr lang="en-US" sz="31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252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»"/>
              <a:tabLst/>
              <a:defRPr lang="en-US"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91828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735795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79764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23733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495" dirty="0">
                <a:latin typeface="Trebuchet MS" panose="020B0603020202020204" pitchFamily="34" charset="0"/>
              </a:rPr>
              <a:t>METHODS</a:t>
            </a:r>
            <a:endParaRPr lang="en-NG" sz="4495" dirty="0">
              <a:latin typeface="Trebuchet MS" panose="020B0603020202020204" pitchFamily="34" charset="0"/>
            </a:endParaRPr>
          </a:p>
        </p:txBody>
      </p:sp>
      <p:sp>
        <p:nvSpPr>
          <p:cNvPr id="115" name="Text Placeholder 5">
            <a:extLst>
              <a:ext uri="{FF2B5EF4-FFF2-40B4-BE49-F238E27FC236}">
                <a16:creationId xmlns:a16="http://schemas.microsoft.com/office/drawing/2014/main" id="{55DB4B71-0ADA-C604-83B9-90415312156D}"/>
              </a:ext>
            </a:extLst>
          </p:cNvPr>
          <p:cNvSpPr txBox="1">
            <a:spLocks/>
          </p:cNvSpPr>
          <p:nvPr/>
        </p:nvSpPr>
        <p:spPr>
          <a:xfrm>
            <a:off x="353953" y="38047325"/>
            <a:ext cx="10443529" cy="793553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>
            <a:lvl1pPr marL="0" indent="0" algn="ctr" defTabSz="2687936" rtl="0" eaLnBrk="1" latinLnBrk="0" hangingPunct="1">
              <a:spcBef>
                <a:spcPct val="20000"/>
              </a:spcBef>
              <a:buFont typeface="Arial" pitchFamily="34" charset="0"/>
              <a:buNone/>
              <a:tabLst/>
              <a:defRPr lang="en-US" sz="3150" b="1" kern="1200" dirty="0">
                <a:solidFill>
                  <a:schemeClr val="bg1">
                    <a:lumMod val="9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5039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tabLst/>
              <a:defRPr lang="en-US" sz="31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252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»"/>
              <a:tabLst/>
              <a:defRPr lang="en-US"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91828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735795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79764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23733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495" dirty="0">
                <a:latin typeface="Trebuchet MS" panose="020B0603020202020204" pitchFamily="34" charset="0"/>
              </a:rPr>
              <a:t>RESULTS</a:t>
            </a:r>
            <a:endParaRPr lang="en-NG" sz="4495" dirty="0">
              <a:latin typeface="Trebuchet MS" panose="020B0603020202020204" pitchFamily="34" charset="0"/>
            </a:endParaRPr>
          </a:p>
        </p:txBody>
      </p:sp>
      <p:sp>
        <p:nvSpPr>
          <p:cNvPr id="116" name="Text Placeholder 16">
            <a:extLst>
              <a:ext uri="{FF2B5EF4-FFF2-40B4-BE49-F238E27FC236}">
                <a16:creationId xmlns:a16="http://schemas.microsoft.com/office/drawing/2014/main" id="{F35310A5-B29E-4906-B107-3A0F60B9F2EE}"/>
              </a:ext>
            </a:extLst>
          </p:cNvPr>
          <p:cNvSpPr txBox="1">
            <a:spLocks/>
          </p:cNvSpPr>
          <p:nvPr/>
        </p:nvSpPr>
        <p:spPr>
          <a:xfrm>
            <a:off x="10988466" y="41105704"/>
            <a:ext cx="9471214" cy="32125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13800" tIns="513800" rIns="513800" bIns="513800">
            <a:spAutoFit/>
          </a:bodyPr>
          <a:lstStyle>
            <a:lvl1pPr marL="0" indent="0" algn="l" defTabSz="2687936" rtl="0" eaLnBrk="1" latinLnBrk="0" hangingPunct="1">
              <a:spcBef>
                <a:spcPct val="20000"/>
              </a:spcBef>
              <a:buFont typeface="Arial" pitchFamily="34" charset="0"/>
              <a:buNone/>
              <a:tabLst/>
              <a:defRPr lang="en-US" sz="31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252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tabLst/>
              <a:defRPr lang="en-US" sz="189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1575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»"/>
              <a:tabLst/>
              <a:defRPr lang="en-US" sz="1575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91828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735795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79764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23733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42229" indent="-642229" algn="just">
              <a:spcBef>
                <a:spcPts val="843"/>
              </a:spcBef>
              <a:buFont typeface="Wingdings" panose="05000000000000000000" pitchFamily="2" charset="2"/>
              <a:buChar char="§"/>
            </a:pPr>
            <a:r>
              <a:rPr lang="en-US" sz="3200" dirty="0">
                <a:hlinkClick r:id="rId64"/>
              </a:rPr>
              <a:t>https://dhis2nigeria.org.ng/dhis/dhis-web-dashboard/#/</a:t>
            </a:r>
            <a:endParaRPr lang="en-US" sz="3200" dirty="0"/>
          </a:p>
          <a:p>
            <a:pPr marL="642229" indent="-642229" algn="just">
              <a:spcBef>
                <a:spcPts val="843"/>
              </a:spcBef>
              <a:buFont typeface="Wingdings" panose="05000000000000000000" pitchFamily="2" charset="2"/>
              <a:buChar char="§"/>
            </a:pPr>
            <a:r>
              <a:rPr lang="en-US" sz="3200" dirty="0">
                <a:hlinkClick r:id="rId65"/>
              </a:rPr>
              <a:t>https://ngdc.noaa.gov/eog/viirs/index.html</a:t>
            </a:r>
            <a:endParaRPr lang="en-US" sz="3200" dirty="0"/>
          </a:p>
          <a:p>
            <a:pPr marL="642229" indent="-642229" algn="just">
              <a:spcBef>
                <a:spcPts val="843"/>
              </a:spcBef>
              <a:buFont typeface="Wingdings" panose="05000000000000000000" pitchFamily="2" charset="2"/>
              <a:buChar char="§"/>
            </a:pPr>
            <a:r>
              <a:rPr lang="en-US" sz="3200" dirty="0">
                <a:hlinkClick r:id="rId66"/>
              </a:rPr>
              <a:t>www.worldpop.org</a:t>
            </a:r>
            <a:r>
              <a:rPr lang="en-US" sz="3200" dirty="0"/>
              <a:t> .</a:t>
            </a:r>
          </a:p>
        </p:txBody>
      </p:sp>
      <p:sp>
        <p:nvSpPr>
          <p:cNvPr id="117" name="Text Placeholder 5">
            <a:extLst>
              <a:ext uri="{FF2B5EF4-FFF2-40B4-BE49-F238E27FC236}">
                <a16:creationId xmlns:a16="http://schemas.microsoft.com/office/drawing/2014/main" id="{9451275B-1C12-A04B-3A2A-809B96343824}"/>
              </a:ext>
            </a:extLst>
          </p:cNvPr>
          <p:cNvSpPr txBox="1">
            <a:spLocks/>
          </p:cNvSpPr>
          <p:nvPr/>
        </p:nvSpPr>
        <p:spPr>
          <a:xfrm>
            <a:off x="10820476" y="40648916"/>
            <a:ext cx="9605889" cy="784061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>
            <a:lvl1pPr marL="0" indent="0" algn="ctr" defTabSz="2687936" rtl="0" eaLnBrk="1" latinLnBrk="0" hangingPunct="1">
              <a:spcBef>
                <a:spcPct val="20000"/>
              </a:spcBef>
              <a:buFont typeface="Arial" pitchFamily="34" charset="0"/>
              <a:buNone/>
              <a:tabLst/>
              <a:defRPr lang="en-US" sz="3150" b="1" kern="1200" dirty="0">
                <a:solidFill>
                  <a:schemeClr val="bg1">
                    <a:lumMod val="9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5039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tabLst/>
              <a:defRPr lang="en-US" sz="31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252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»"/>
              <a:tabLst/>
              <a:defRPr lang="en-US"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91828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735795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79764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23733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495" dirty="0">
                <a:latin typeface="Trebuchet MS" panose="020B0603020202020204" pitchFamily="34" charset="0"/>
              </a:rPr>
              <a:t>REFERENCES</a:t>
            </a:r>
            <a:endParaRPr lang="en-NG" sz="4495" dirty="0">
              <a:latin typeface="Trebuchet MS" panose="020B0603020202020204" pitchFamily="34" charset="0"/>
            </a:endParaRPr>
          </a:p>
        </p:txBody>
      </p:sp>
      <p:sp>
        <p:nvSpPr>
          <p:cNvPr id="118" name="Text Placeholder 16">
            <a:extLst>
              <a:ext uri="{FF2B5EF4-FFF2-40B4-BE49-F238E27FC236}">
                <a16:creationId xmlns:a16="http://schemas.microsoft.com/office/drawing/2014/main" id="{60D5ED6C-5213-08F9-2701-DB753875E391}"/>
              </a:ext>
            </a:extLst>
          </p:cNvPr>
          <p:cNvSpPr txBox="1">
            <a:spLocks/>
          </p:cNvSpPr>
          <p:nvPr/>
        </p:nvSpPr>
        <p:spPr>
          <a:xfrm>
            <a:off x="10812849" y="44313095"/>
            <a:ext cx="9621142" cy="39922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13800" tIns="513800" rIns="513800" bIns="513800">
            <a:spAutoFit/>
          </a:bodyPr>
          <a:lstStyle>
            <a:lvl1pPr marL="0" indent="0" algn="l" defTabSz="2687936" rtl="0" eaLnBrk="1" latinLnBrk="0" hangingPunct="1">
              <a:spcBef>
                <a:spcPct val="20000"/>
              </a:spcBef>
              <a:buFont typeface="Arial" pitchFamily="34" charset="0"/>
              <a:buNone/>
              <a:tabLst/>
              <a:defRPr lang="en-US" sz="31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252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tabLst/>
              <a:defRPr lang="en-US" sz="189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1575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»"/>
              <a:tabLst/>
              <a:defRPr lang="en-US" sz="1575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91828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735795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79764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23733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0"/>
              </a:spcBef>
            </a:pPr>
            <a:r>
              <a:rPr lang="en-US" sz="3200" b="1" dirty="0"/>
              <a:t>Prince Friday.</a:t>
            </a:r>
          </a:p>
          <a:p>
            <a:pPr algn="just">
              <a:spcBef>
                <a:spcPts val="0"/>
              </a:spcBef>
            </a:pPr>
            <a:r>
              <a:rPr lang="en-US" sz="3200" dirty="0"/>
              <a:t>Senior Associate, New Vaccine Introduction, Capacity Strengthening and Data-use</a:t>
            </a:r>
          </a:p>
          <a:p>
            <a:pPr algn="just">
              <a:spcBef>
                <a:spcPts val="0"/>
              </a:spcBef>
            </a:pPr>
            <a:r>
              <a:rPr lang="en-US" sz="3200" dirty="0"/>
              <a:t>Clinton Health Access Initiative.</a:t>
            </a:r>
          </a:p>
          <a:p>
            <a:pPr algn="just">
              <a:spcBef>
                <a:spcPts val="0"/>
              </a:spcBef>
            </a:pPr>
            <a:r>
              <a:rPr lang="en-US" sz="3200" dirty="0"/>
              <a:t>+234-803 482 4002,</a:t>
            </a:r>
          </a:p>
          <a:p>
            <a:pPr algn="just">
              <a:spcBef>
                <a:spcPts val="0"/>
              </a:spcBef>
            </a:pPr>
            <a:r>
              <a:rPr lang="en-US" sz="3200" dirty="0"/>
              <a:t> pfriday@clintonhealthaccess.org</a:t>
            </a:r>
          </a:p>
        </p:txBody>
      </p:sp>
      <p:sp>
        <p:nvSpPr>
          <p:cNvPr id="119" name="Text Placeholder 5">
            <a:extLst>
              <a:ext uri="{FF2B5EF4-FFF2-40B4-BE49-F238E27FC236}">
                <a16:creationId xmlns:a16="http://schemas.microsoft.com/office/drawing/2014/main" id="{18C52825-35BD-AE5C-0FA9-B3E10DAAB6F2}"/>
              </a:ext>
            </a:extLst>
          </p:cNvPr>
          <p:cNvSpPr txBox="1">
            <a:spLocks/>
          </p:cNvSpPr>
          <p:nvPr/>
        </p:nvSpPr>
        <p:spPr>
          <a:xfrm>
            <a:off x="10805114" y="43924811"/>
            <a:ext cx="9605889" cy="784061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>
            <a:lvl1pPr marL="0" indent="0" algn="ctr" defTabSz="2687936" rtl="0" eaLnBrk="1" latinLnBrk="0" hangingPunct="1">
              <a:spcBef>
                <a:spcPct val="20000"/>
              </a:spcBef>
              <a:buFont typeface="Arial" pitchFamily="34" charset="0"/>
              <a:buNone/>
              <a:tabLst/>
              <a:defRPr lang="en-US" sz="3150" b="1" kern="1200" dirty="0">
                <a:solidFill>
                  <a:schemeClr val="bg1">
                    <a:lumMod val="9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5039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tabLst/>
              <a:defRPr lang="en-US" sz="31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252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»"/>
              <a:tabLst/>
              <a:defRPr lang="en-US"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91828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735795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79764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23733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495" dirty="0">
                <a:latin typeface="Trebuchet MS" panose="020B0603020202020204" pitchFamily="34" charset="0"/>
              </a:rPr>
              <a:t>Contact Information </a:t>
            </a:r>
            <a:endParaRPr lang="en-NG" sz="4495" dirty="0">
              <a:latin typeface="Trebuchet MS" panose="020B0603020202020204" pitchFamily="34" charset="0"/>
            </a:endParaRP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AD81B7A1-0734-F6B9-9EE4-549FC7FDE201}"/>
              </a:ext>
            </a:extLst>
          </p:cNvPr>
          <p:cNvSpPr txBox="1"/>
          <p:nvPr/>
        </p:nvSpPr>
        <p:spPr>
          <a:xfrm>
            <a:off x="320277" y="38999688"/>
            <a:ext cx="57265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500" b="1" dirty="0"/>
              <a:t>Figure 1. </a:t>
            </a:r>
            <a:r>
              <a:rPr lang="en-US" sz="2800" b="1" dirty="0">
                <a:latin typeface="Calibri"/>
                <a:cs typeface="Calibri"/>
              </a:rPr>
              <a:t>Number of under-1</a:t>
            </a:r>
            <a:r>
              <a:rPr lang="en-US" sz="2800" b="1" spc="-135" dirty="0">
                <a:latin typeface="Calibri"/>
                <a:cs typeface="Calibri"/>
              </a:rPr>
              <a:t> </a:t>
            </a:r>
            <a:r>
              <a:rPr lang="en-US" sz="2800" b="1" spc="-5" dirty="0">
                <a:latin typeface="Calibri"/>
                <a:cs typeface="Calibri"/>
              </a:rPr>
              <a:t>children</a:t>
            </a:r>
            <a:endParaRPr lang="en-US" sz="2800" dirty="0">
              <a:latin typeface="Calibri"/>
              <a:cs typeface="Calibri"/>
            </a:endParaRP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8B937FB3-CE6D-5323-C4F6-779A44417753}"/>
              </a:ext>
            </a:extLst>
          </p:cNvPr>
          <p:cNvSpPr txBox="1"/>
          <p:nvPr/>
        </p:nvSpPr>
        <p:spPr>
          <a:xfrm>
            <a:off x="10719680" y="6350337"/>
            <a:ext cx="9218613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500" b="1" dirty="0"/>
              <a:t>Fig 2: LGA Prioritization</a:t>
            </a:r>
          </a:p>
        </p:txBody>
      </p:sp>
      <p:pic>
        <p:nvPicPr>
          <p:cNvPr id="218" name="Picture 217" descr="A logo of a health care company&#10;&#10;Description automatically generated">
            <a:extLst>
              <a:ext uri="{FF2B5EF4-FFF2-40B4-BE49-F238E27FC236}">
                <a16:creationId xmlns:a16="http://schemas.microsoft.com/office/drawing/2014/main" id="{3B5C7AFE-5570-2F9A-7739-202E401DBDF7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9900" y="48988932"/>
            <a:ext cx="1782076" cy="1627629"/>
          </a:xfrm>
          <a:prstGeom prst="rect">
            <a:avLst/>
          </a:prstGeom>
        </p:spPr>
      </p:pic>
      <p:pic>
        <p:nvPicPr>
          <p:cNvPr id="1026" name="Picture 2" descr="BMGF logo">
            <a:extLst>
              <a:ext uri="{FF2B5EF4-FFF2-40B4-BE49-F238E27FC236}">
                <a16:creationId xmlns:a16="http://schemas.microsoft.com/office/drawing/2014/main" id="{1267C43A-20EC-F17E-033F-B6959D1D0B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4026" y="49655978"/>
            <a:ext cx="6135061" cy="946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9" name="Picture 218" descr="A logo with stars on it&#10;&#10;Description automatically generated">
            <a:extLst>
              <a:ext uri="{FF2B5EF4-FFF2-40B4-BE49-F238E27FC236}">
                <a16:creationId xmlns:a16="http://schemas.microsoft.com/office/drawing/2014/main" id="{81F26DED-6CAB-7B8A-B413-42571C1C968B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44525" y="49072900"/>
            <a:ext cx="3432635" cy="1836460"/>
          </a:xfrm>
          <a:prstGeom prst="rect">
            <a:avLst/>
          </a:prstGeom>
        </p:spPr>
      </p:pic>
      <p:graphicFrame>
        <p:nvGraphicFramePr>
          <p:cNvPr id="47" name="Chart 46">
            <a:extLst>
              <a:ext uri="{FF2B5EF4-FFF2-40B4-BE49-F238E27FC236}">
                <a16:creationId xmlns:a16="http://schemas.microsoft.com/office/drawing/2014/main" id="{7010EC77-5385-920B-B6D2-DE4EB4713159}"/>
              </a:ext>
            </a:extLst>
          </p:cNvPr>
          <p:cNvGraphicFramePr/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9275012"/>
              </p:ext>
            </p:extLst>
          </p:nvPr>
        </p:nvGraphicFramePr>
        <p:xfrm>
          <a:off x="395288" y="15157450"/>
          <a:ext cx="10136187" cy="26908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8"/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64AA09-A8EB-DD77-1386-475DF94FA2EA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317500" y="17686338"/>
            <a:ext cx="714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1C534209-751B-4BEE-B0EE-A2BC57B55CE9}" type="datetime'''''0'''''''''''''''''''''''''">
              <a:rPr lang="en-US" altLang="en-US" sz="105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  <a:sym typeface="+mn-lt"/>
              </a:rPr>
              <a:pPr/>
              <a:t>0</a:t>
            </a:fld>
            <a:endParaRPr kumimoji="0" lang="en-US" sz="105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0B8BC8C2-CD49-F3F3-0085-59737731D306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246063" y="17446626"/>
            <a:ext cx="14287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522442" indent="-522442" algn="l" defTabSz="2089770" rtl="0" eaLnBrk="1" latinLnBrk="0" hangingPunct="1">
              <a:lnSpc>
                <a:spcPct val="90000"/>
              </a:lnSpc>
              <a:spcBef>
                <a:spcPts val="2285"/>
              </a:spcBef>
              <a:buFont typeface="Arial" panose="020B0604020202020204" pitchFamily="34" charset="0"/>
              <a:buChar char="•"/>
              <a:defRPr sz="6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67327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5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12212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5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097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01982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46867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791752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836637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881521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6E08A486-39F3-47EE-A334-CEEA63AFBA82}" type="datetime'''''''''1''''''''''''''''''''''''''''''''''0'''''''''''''">
              <a:rPr lang="en-US" altLang="en-US" sz="1050" smtClean="0">
                <a:solidFill>
                  <a:srgbClr val="333333"/>
                </a:solidFill>
                <a:effectLst/>
                <a:ea typeface="ＭＳ Ｐゴシック" panose="020B0600070205080204" pitchFamily="34" charset="-128"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050" dirty="0">
              <a:solidFill>
                <a:srgbClr val="333333"/>
              </a:solidFill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FE6D1103-59DB-69B2-3FD5-2C87E4A19385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46063" y="16941801"/>
            <a:ext cx="14287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522442" indent="-522442" algn="l" defTabSz="2089770" rtl="0" eaLnBrk="1" latinLnBrk="0" hangingPunct="1">
              <a:lnSpc>
                <a:spcPct val="90000"/>
              </a:lnSpc>
              <a:spcBef>
                <a:spcPts val="2285"/>
              </a:spcBef>
              <a:buFont typeface="Arial" panose="020B0604020202020204" pitchFamily="34" charset="0"/>
              <a:buChar char="•"/>
              <a:defRPr sz="6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67327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5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12212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5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097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01982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46867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791752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836637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881521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395E4A0B-A299-4BDB-ACEB-E7F20CE75E5C}" type="datetime'''3''''''''''''''''''''''''''''''''''''''''''0'''">
              <a:rPr lang="en-US" altLang="en-US" sz="1050" smtClean="0">
                <a:solidFill>
                  <a:srgbClr val="333333"/>
                </a:solidFill>
                <a:effectLst/>
                <a:ea typeface="ＭＳ Ｐゴシック" panose="020B0600070205080204" pitchFamily="34" charset="-128"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US" sz="1050" dirty="0">
              <a:solidFill>
                <a:srgbClr val="333333"/>
              </a:solidFill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D05E44D-8C5A-C375-25FB-784F223EE1ED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46063" y="16435389"/>
            <a:ext cx="14287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522442" indent="-522442" algn="l" defTabSz="2089770" rtl="0" eaLnBrk="1" latinLnBrk="0" hangingPunct="1">
              <a:lnSpc>
                <a:spcPct val="90000"/>
              </a:lnSpc>
              <a:spcBef>
                <a:spcPts val="2285"/>
              </a:spcBef>
              <a:buFont typeface="Arial" panose="020B0604020202020204" pitchFamily="34" charset="0"/>
              <a:buChar char="•"/>
              <a:defRPr sz="6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67327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5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12212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5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097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01982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46867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791752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836637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881521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232AC651-BBD8-44DE-BCB4-AEFBC52F6CB3}" type="datetime'''''''''5''''''''''''''''''''''''''''''''0'''''''''''''''">
              <a:rPr lang="en-US" altLang="en-US" sz="1050" smtClean="0">
                <a:solidFill>
                  <a:srgbClr val="333333"/>
                </a:solidFill>
                <a:effectLst/>
                <a:ea typeface="ＭＳ Ｐゴシック" panose="020B0600070205080204" pitchFamily="34" charset="-128"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0</a:t>
            </a:fld>
            <a:endParaRPr lang="en-US" sz="1050" dirty="0">
              <a:solidFill>
                <a:srgbClr val="333333"/>
              </a:solidFill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5A47EC4-E2F5-DE3A-021E-0A9680F338B0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246063" y="15930564"/>
            <a:ext cx="14287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522442" indent="-522442" algn="l" defTabSz="2089770" rtl="0" eaLnBrk="1" latinLnBrk="0" hangingPunct="1">
              <a:lnSpc>
                <a:spcPct val="90000"/>
              </a:lnSpc>
              <a:spcBef>
                <a:spcPts val="2285"/>
              </a:spcBef>
              <a:buFont typeface="Arial" panose="020B0604020202020204" pitchFamily="34" charset="0"/>
              <a:buChar char="•"/>
              <a:defRPr sz="6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67327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5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12212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5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097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01982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46867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791752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836637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881521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09796B53-9AFB-4342-908F-EC5395F39A68}" type="datetime'7''''''''0'''''''''''''''''''''''''''">
              <a:rPr lang="en-US" altLang="en-US" sz="1050" smtClean="0">
                <a:solidFill>
                  <a:srgbClr val="333333"/>
                </a:solidFill>
                <a:effectLst/>
                <a:ea typeface="ＭＳ Ｐゴシック" panose="020B0600070205080204" pitchFamily="34" charset="-128"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70</a:t>
            </a:fld>
            <a:endParaRPr lang="en-US" sz="1050" dirty="0">
              <a:solidFill>
                <a:srgbClr val="333333"/>
              </a:solidFill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C219D4D8-3B3B-DA67-04F3-6E12A817791B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46063" y="15425739"/>
            <a:ext cx="142875" cy="144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522442" indent="-522442" algn="l" defTabSz="2089770" rtl="0" eaLnBrk="1" latinLnBrk="0" hangingPunct="1">
              <a:lnSpc>
                <a:spcPct val="90000"/>
              </a:lnSpc>
              <a:spcBef>
                <a:spcPts val="2285"/>
              </a:spcBef>
              <a:buFont typeface="Arial" panose="020B0604020202020204" pitchFamily="34" charset="0"/>
              <a:buChar char="•"/>
              <a:defRPr sz="63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567327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54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12212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5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097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01982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46867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791752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836637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881521" indent="-522442" algn="l" defTabSz="2089770" rtl="0" eaLnBrk="1" latinLnBrk="0" hangingPunct="1">
              <a:lnSpc>
                <a:spcPct val="90000"/>
              </a:lnSpc>
              <a:spcBef>
                <a:spcPts val="1143"/>
              </a:spcBef>
              <a:buFont typeface="Arial" panose="020B0604020202020204" pitchFamily="34" charset="0"/>
              <a:buChar char="•"/>
              <a:defRPr sz="41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</a:pPr>
            <a:fld id="{93A9331F-7120-4B2F-BE21-18D349689F4A}" type="datetime'''''9''''''''''''''''''''''''0'''''''''''''''''''''">
              <a:rPr lang="en-US" altLang="en-US" sz="1050" smtClean="0">
                <a:solidFill>
                  <a:srgbClr val="333333"/>
                </a:solidFill>
                <a:effectLst/>
                <a:ea typeface="ＭＳ Ｐゴシック" panose="020B0600070205080204" pitchFamily="34" charset="-128"/>
                <a:sym typeface="+mn-lt"/>
              </a:rPr>
              <a:pPr marL="0" lv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90</a:t>
            </a:fld>
            <a:endParaRPr lang="en-US" sz="1050" dirty="0">
              <a:solidFill>
                <a:srgbClr val="333333"/>
              </a:solidFill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5C95E8F-8D03-FB63-E63F-7AD2A046EAE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74625" y="15160625"/>
            <a:ext cx="214313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>
              <a:spcBef>
                <a:spcPct val="0"/>
              </a:spcBef>
              <a:spcAft>
                <a:spcPct val="0"/>
              </a:spcAft>
              <a:buNone/>
              <a:defRPr/>
            </a:pPr>
            <a:fld id="{39DD1AFD-4200-469D-BB73-CB3F4ECCB289}" type="datetime'''''''''''''''''''''''''''10''''''''''''''''''0'''''''''">
              <a:rPr lang="en-US" altLang="en-US" sz="105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  <a:sym typeface="+mn-lt"/>
              </a:rPr>
              <a:pPr/>
              <a:t>100</a:t>
            </a:fld>
            <a:endParaRPr kumimoji="0" lang="en-US" sz="105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9086DE25-F47F-12C2-F699-31C347299B51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322263" y="17857788"/>
            <a:ext cx="311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6EA5836-9835-4EBB-8BD7-8D56933F2BE0}" type="datetime'''''''''''''''''''''''''''''''2''0''''''''0''''''''''''''1''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2001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653927B-8FD4-B860-8484-CD7885459EC5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47725" y="17857788"/>
            <a:ext cx="311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92E8C6A4-CA0A-4686-8088-66282CC9994C}" type="datetime'''''2''''''''''''''''0''''''02''''''''''''''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2002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2A1D66A-5CD6-72C2-F234-24651A67FFDE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371600" y="17857788"/>
            <a:ext cx="311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6FE6256-3665-4D52-87F0-297D312AC0CA}" type="datetime'2''''''''0''''''''''''''''''''''''''''''03''''''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2003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E929CF0-C1B5-F7DD-6E74-285EE0701309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897063" y="17857788"/>
            <a:ext cx="311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29AD4553-A306-4D53-855A-ACF4684CA580}" type="datetime'''''''''''2''0''''''''''''0''''''''''''4''''''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2004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001C1CC-28CF-02CD-4185-254CBD20FD43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420938" y="17857788"/>
            <a:ext cx="311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8FD33E9-2BE1-4262-AD79-7131588F012A}" type="datetime'''''''''''''''''2''''''''0''0''''''''''''''''''''''5''''''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2005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50A8631-E830-DE61-EDEB-7EB5F97AB208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946400" y="17857788"/>
            <a:ext cx="311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D14D2F5-4D48-4F3E-9D05-E8A109E63B9D}" type="datetime'''2''''''''''''''''0''''''''''''''''0''''''6''''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2006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E3CF256-F1D2-A3A0-34B7-3D34878B6800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470275" y="17857788"/>
            <a:ext cx="311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9F077C2-C27F-44EA-A055-E52D460B4278}" type="datetime'''''''''''''''''''''2''''''''''''0''0''''''''7''''''''''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2007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768B25D-DA23-4E1F-C332-A2BE1B9FBC99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3995738" y="17857788"/>
            <a:ext cx="311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77C82DE-ADA4-4E98-86CE-E64FBD0A4CC5}" type="datetime'''''''''''''''''''20''''''08''''''''''''''''''''''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2008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9501B64-453A-423D-6F68-32787A44C465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4521200" y="17857788"/>
            <a:ext cx="311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F858A62-73E3-40F5-9354-26E5CBF54365}" type="datetime'''''''''2''''''''''''''''''0''''''''''0''''''''''''9''''''''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2009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5CB8CE8-A7EA-6386-D836-47B227E65B0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5045075" y="17857788"/>
            <a:ext cx="311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1B6340F-9845-4F7C-AC9F-5DF9111FC8B1}" type="datetime'''''''''''''''''''2''''''''''''0''''''''''''''''''''1''0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2010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D9918CB-767D-8740-366D-AA128009325C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570538" y="17857788"/>
            <a:ext cx="311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CE4D4DC-CE3A-4ABD-9A2D-8A38AC4E823A}" type="datetime'2''''''''''0''''''''''''''''''''1''''''''''1''''''''''''''''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2011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8AF8650-E865-2A8D-39F6-4A0801E5E66E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6094413" y="17857788"/>
            <a:ext cx="311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F5871C3-7FDD-4715-8C73-B76C99503534}" type="datetime'''''20''''''''''1''''2''''''''''''''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2012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BE8FAC8-8FE6-F2C2-3EAC-DF2732247711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6619875" y="17857788"/>
            <a:ext cx="311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5F8A189-5F7C-4FEB-9CD9-3F4BC9CDBD46}" type="datetime'2''''''0''''''''''''''''''''''''''''1''''3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2013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AFCB178-C60C-698E-2FFB-F2CF9DE27AA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7145338" y="17857788"/>
            <a:ext cx="311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98C9B6FC-3359-4D99-B8F4-CFD306D9AE9B}" type="datetime'''''''''''''''''''''''''2''''''''0''1''''4''''''''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2014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BBA0F70-72B3-A54F-9275-F5E043B2CD4E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669213" y="17857788"/>
            <a:ext cx="311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ABE9BA0-AA96-47B5-9464-A3C56CA09B14}" type="datetime'''2''0''1''''''''''''''''''''''''''''''5''''''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2015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1D3C243A-41A2-0900-E68E-E7B275DC443F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8194675" y="17857788"/>
            <a:ext cx="311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A7BB953-323F-454E-8C35-0E4210152DFB}" type="datetime'2''''''''''''0''''1''''''''''''''''6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2016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FBB1DBCF-C051-30C7-D285-7D15D5199E3E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8718550" y="17857788"/>
            <a:ext cx="311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9955E2A-631A-4A9E-9756-4894F1F1B4DD}" type="datetime'''''''''''''''''2''''''''''''''''''''''''''''''''''''0''17''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2017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E070153A-3903-44DA-2223-7FA0A4FB607A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9244013" y="17857788"/>
            <a:ext cx="311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DE68168-1DFF-4339-9DFA-FCA58751E718}" type="datetime'''''2''''''''0''''''''18''''''''''''''''''''''''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2018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1D94826-366B-7CC2-C0AA-CF608F9D8FE9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9767888" y="17857788"/>
            <a:ext cx="311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A19BF9FD-2CA1-455E-AF98-8D71CE4A5369}" type="datetime'''''''''''''2''''''''0''''''''19''''''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2019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C69D276-210D-E4C1-C083-EAD5C1357728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0293350" y="17857788"/>
            <a:ext cx="31115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E60DAFE6-F881-4BFF-A367-4FC078D7DAFD}" type="datetime'''''2''''''''''''''''''''''''''''''''''''''0''''''20''''''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2020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2533C285-7B11-BC2A-34E0-C9FA78918CDF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7475538" y="15373350"/>
            <a:ext cx="285750" cy="0"/>
          </a:xfrm>
          <a:prstGeom prst="line">
            <a:avLst/>
          </a:prstGeom>
          <a:ln w="28575" cap="rnd" cmpd="sng" algn="ctr">
            <a:solidFill>
              <a:srgbClr val="05AD2C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4789562B-0D7B-C6B5-1C7B-0D645AE24865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7475538" y="15592425"/>
            <a:ext cx="285750" cy="0"/>
          </a:xfrm>
          <a:prstGeom prst="line">
            <a:avLst/>
          </a:prstGeom>
          <a:ln w="28575" cap="rnd" cmpd="sng" algn="ctr">
            <a:solidFill>
              <a:srgbClr val="C30C3E"/>
            </a:solidFill>
            <a:prstDash val="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396FB69-5E93-28A0-E272-021B051A4AA1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7475538" y="15811500"/>
            <a:ext cx="285750" cy="0"/>
          </a:xfrm>
          <a:prstGeom prst="line">
            <a:avLst/>
          </a:prstGeom>
          <a:ln w="28575" cap="rnd" cmpd="sng" algn="ctr">
            <a:solidFill>
              <a:srgbClr val="6F8DB9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7939D2F9-7E99-DEA1-0412-8D77D61ADEDD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7475538" y="16030575"/>
            <a:ext cx="285750" cy="0"/>
          </a:xfrm>
          <a:prstGeom prst="line">
            <a:avLst/>
          </a:prstGeom>
          <a:ln w="28575" cap="rnd" cmpd="sng" algn="ctr">
            <a:solidFill>
              <a:schemeClr val="folHlink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B283ABED-8A18-E55A-8310-95AEFA85F9F7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7475538" y="16249650"/>
            <a:ext cx="285750" cy="0"/>
          </a:xfrm>
          <a:prstGeom prst="line">
            <a:avLst/>
          </a:prstGeom>
          <a:ln w="28575" cap="rnd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2E1896B6-32EE-45F9-8F1B-CDE40BEB287E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7826375" y="15295563"/>
            <a:ext cx="49688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CC3E95AB-AF3E-457E-8A8D-80C1D85AF80E}" type="datetime'''E''''thi''''''''''o''p''''''''i''''''''''''''''a''''''''''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Ethiopia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14CD065F-FA0D-08B8-F9F7-633A4499964D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826375" y="15514638"/>
            <a:ext cx="403225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25140939-9314-4FCA-AFA1-066E229BE2C7}" type="datetime'''''''''''''''G''''h''''''''''a''''''''''''''''''''''''''''na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Ghana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950E4EDC-0963-D34F-DBB1-564F1FDAB14B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826375" y="15733713"/>
            <a:ext cx="368300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F64C8D8B-46B4-4C2C-BAFC-AEE0AF72F809}" type="datetime'''''''''''''''K''''''e''''''''''''''''n''''''''y''a''''''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Kenya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11C3410A-18E2-DEDD-E959-A001CF15A04D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826375" y="15952788"/>
            <a:ext cx="430213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6AC089D3-E0FF-4013-9B23-3EAA62BF92FF}" type="datetime'''''M''a''''''''''l''a''''''''''''''''w''''''''''i''''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Malawi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D336E5B1-9747-9C00-76B5-D3ED867F43B3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826375" y="16171863"/>
            <a:ext cx="427038" cy="168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29CB04FD-A2FB-4EB9-8829-51B80408B136}" type="datetime'''N''i''g''''''''''''e''''''''r''''''''''''''''''''''ia'''''">
              <a:rPr lang="en-US" altLang="en-US" sz="1100" smtClean="0">
                <a:solidFill>
                  <a:srgbClr val="333333"/>
                </a:solidFill>
                <a:latin typeface="+mn-lt"/>
                <a:ea typeface="ＭＳ Ｐゴシック" panose="020B0600070205080204" pitchFamily="34" charset="-128"/>
              </a:rPr>
              <a:pPr/>
              <a:t>Nigeria</a:t>
            </a:fld>
            <a:endParaRPr kumimoji="0" lang="en-US" sz="11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+mn-lt"/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D069AE9-CC66-ADBE-39AA-8252E6CF2657}"/>
              </a:ext>
            </a:extLst>
          </p:cNvPr>
          <p:cNvSpPr txBox="1"/>
          <p:nvPr>
            <p:custDataLst>
              <p:tags r:id="rId40"/>
            </p:custDataLst>
          </p:nvPr>
        </p:nvSpPr>
        <p:spPr>
          <a:xfrm>
            <a:off x="301062" y="14598549"/>
            <a:ext cx="6400800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sng" strike="noStrike" kern="1200" cap="none" spc="0" normalizeH="0" baseline="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/>
                <a:cs typeface="+mn-cs"/>
              </a:rPr>
              <a:t>Yearly DPT3 Coverage of Nigeria compared to some African countries</a:t>
            </a:r>
            <a:r>
              <a:rPr kumimoji="0" lang="en-US" b="1" i="0" u="sng" strike="noStrike" kern="1200" cap="none" spc="0" normalizeH="0" baseline="30000" noProof="0" dirty="0">
                <a:ln>
                  <a:noFill/>
                </a:ln>
                <a:solidFill>
                  <a:srgbClr val="002960"/>
                </a:solidFill>
                <a:effectLst/>
                <a:uLnTx/>
                <a:uFillTx/>
                <a:latin typeface="Trebuchet MS" panose="020B0603020202020204" pitchFamily="34" charset="0"/>
                <a:ea typeface="ＭＳ Ｐゴシック"/>
                <a:cs typeface="+mn-cs"/>
              </a:rPr>
              <a:t>1</a:t>
            </a:r>
          </a:p>
        </p:txBody>
      </p:sp>
      <p:sp>
        <p:nvSpPr>
          <p:cNvPr id="49" name="Text Placeholder 16">
            <a:extLst>
              <a:ext uri="{FF2B5EF4-FFF2-40B4-BE49-F238E27FC236}">
                <a16:creationId xmlns:a16="http://schemas.microsoft.com/office/drawing/2014/main" id="{1AC254CB-FA8B-5123-EF20-E9C509B3E3C7}"/>
              </a:ext>
            </a:extLst>
          </p:cNvPr>
          <p:cNvSpPr txBox="1">
            <a:spLocks/>
          </p:cNvSpPr>
          <p:nvPr/>
        </p:nvSpPr>
        <p:spPr>
          <a:xfrm>
            <a:off x="269794" y="18122315"/>
            <a:ext cx="10169579" cy="596206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13800" tIns="513800" rIns="513800" bIns="513800">
            <a:spAutoFit/>
          </a:bodyPr>
          <a:lstStyle>
            <a:lvl1pPr marL="0" indent="0" algn="l" defTabSz="2687936" rtl="0" eaLnBrk="1" latinLnBrk="0" hangingPunct="1">
              <a:spcBef>
                <a:spcPct val="20000"/>
              </a:spcBef>
              <a:buFont typeface="Arial" pitchFamily="34" charset="0"/>
              <a:buNone/>
              <a:tabLst/>
              <a:defRPr lang="en-US" sz="31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252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tabLst/>
              <a:defRPr lang="en-US" sz="189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1575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»"/>
              <a:tabLst/>
              <a:defRPr lang="en-US" sz="1575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91828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735795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79764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23733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ＭＳ Ｐゴシック"/>
                <a:cs typeface="+mn-cs"/>
              </a:rPr>
              <a:t>Despite the progress and investments made over the years by the Government and partners, close to 40% of eligible children are still not fully vaccinat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ＭＳ Ｐゴシック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ＭＳ Ｐゴシック"/>
                <a:cs typeface="+mn-cs"/>
              </a:rPr>
              <a:t>Significant decline in RI coverage due to the COVID-19 pandemic was observ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ＭＳ Ｐゴシック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ＭＳ Ｐゴシック"/>
                <a:cs typeface="+mn-cs"/>
              </a:rPr>
              <a:t>The current fiscal space further limits the availability of resources for RI</a:t>
            </a:r>
          </a:p>
        </p:txBody>
      </p:sp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487B5681-2992-7BFE-B359-06205A870419}"/>
              </a:ext>
            </a:extLst>
          </p:cNvPr>
          <p:cNvGraphicFramePr/>
          <p:nvPr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3399062332"/>
              </p:ext>
            </p:extLst>
          </p:nvPr>
        </p:nvGraphicFramePr>
        <p:xfrm>
          <a:off x="357188" y="22691725"/>
          <a:ext cx="9979025" cy="3754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9"/>
          </a:graphicData>
        </a:graphic>
      </p:graphicFrame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659642A4-55E9-25A9-1CFD-5B673D33FED5}"/>
              </a:ext>
            </a:extLst>
          </p:cNvPr>
          <p:cNvCxnSpPr/>
          <p:nvPr>
            <p:custDataLst>
              <p:tags r:id="rId42"/>
            </p:custDataLst>
          </p:nvPr>
        </p:nvCxnSpPr>
        <p:spPr bwMode="auto">
          <a:xfrm flipV="1">
            <a:off x="5346700" y="23553738"/>
            <a:ext cx="0" cy="113982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830F8916-7EB9-C90D-E16F-D7CC11D3D109}"/>
              </a:ext>
            </a:extLst>
          </p:cNvPr>
          <p:cNvCxnSpPr/>
          <p:nvPr>
            <p:custDataLst>
              <p:tags r:id="rId43"/>
            </p:custDataLst>
          </p:nvPr>
        </p:nvCxnSpPr>
        <p:spPr bwMode="auto">
          <a:xfrm>
            <a:off x="5346700" y="23553738"/>
            <a:ext cx="43608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29B65D4F-935D-01DD-2827-CCD4C139B1A7}"/>
              </a:ext>
            </a:extLst>
          </p:cNvPr>
          <p:cNvCxnSpPr/>
          <p:nvPr>
            <p:custDataLst>
              <p:tags r:id="rId44"/>
            </p:custDataLst>
          </p:nvPr>
        </p:nvCxnSpPr>
        <p:spPr bwMode="auto">
          <a:xfrm>
            <a:off x="9707563" y="23553738"/>
            <a:ext cx="0" cy="473075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Arrow: Right 55">
            <a:extLst>
              <a:ext uri="{FF2B5EF4-FFF2-40B4-BE49-F238E27FC236}">
                <a16:creationId xmlns:a16="http://schemas.microsoft.com/office/drawing/2014/main" id="{E25D2FEE-CF90-357A-53B5-B9BFDF553E08}"/>
              </a:ext>
            </a:extLst>
          </p:cNvPr>
          <p:cNvSpPr/>
          <p:nvPr>
            <p:custDataLst>
              <p:tags r:id="rId45"/>
            </p:custDataLst>
          </p:nvPr>
        </p:nvSpPr>
        <p:spPr bwMode="auto">
          <a:xfrm rot="10800000">
            <a:off x="10304463" y="23623588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rebuchet MS" panose="020B0603020202020204" pitchFamily="34" charset="0"/>
              <a:ea typeface="ＭＳ Ｐゴシック"/>
              <a:cs typeface="+mn-cs"/>
            </a:endParaRPr>
          </a:p>
        </p:txBody>
      </p: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F5390082-D3B4-C6F0-46DD-FA7E5F9DF67E}"/>
              </a:ext>
            </a:extLst>
          </p:cNvPr>
          <p:cNvCxnSpPr/>
          <p:nvPr>
            <p:custDataLst>
              <p:tags r:id="rId46"/>
            </p:custDataLst>
          </p:nvPr>
        </p:nvCxnSpPr>
        <p:spPr bwMode="auto">
          <a:xfrm>
            <a:off x="439739" y="23699788"/>
            <a:ext cx="80057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B3BEE5AC-8065-2925-8F70-127BD6DD583B}"/>
              </a:ext>
            </a:extLst>
          </p:cNvPr>
          <p:cNvCxnSpPr/>
          <p:nvPr>
            <p:custDataLst>
              <p:tags r:id="rId47"/>
            </p:custDataLst>
          </p:nvPr>
        </p:nvCxnSpPr>
        <p:spPr bwMode="auto">
          <a:xfrm>
            <a:off x="8788401" y="23699788"/>
            <a:ext cx="14652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8687A21D-99B4-0A58-A786-7AE75CB7E862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684214" y="26101675"/>
            <a:ext cx="600075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57273" indent="-357273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4097" indent="-297729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0919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7287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43652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0021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6390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72756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49124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8412EE6-029C-4EE0-9E39-02931BB85B30}" type="datetime'''''''''''''''20''''''1''''''''''''''1'''' ''''M''IC''''''S'">
              <a:rPr lang="en-GB" altLang="en-US" sz="2000" smtClean="0">
                <a:solidFill>
                  <a:srgbClr val="333333"/>
                </a:solidFill>
                <a:ea typeface="ＭＳ Ｐゴシック" panose="020B0600070205080204" pitchFamily="34" charset="-128"/>
              </a:rPr>
              <a:pPr/>
              <a:t>2011 MICS</a:t>
            </a:fld>
            <a:endParaRPr kumimoji="0" lang="en-GB" sz="20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1CD3750B-1FC3-51EC-16AF-4CB415CBC395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1730375" y="26101675"/>
            <a:ext cx="69056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57273" indent="-357273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4097" indent="-297729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0919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7287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43652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0021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6390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72756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49124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B871F894-51CD-4862-9248-4F177F8E3E71}" type="datetime'''''''''''''''''2''''''''0''1''3 ''''N''''''''D''H''S'''''''">
              <a:rPr lang="en-GB" altLang="en-US" sz="2000" smtClean="0">
                <a:solidFill>
                  <a:srgbClr val="333333"/>
                </a:solidFill>
                <a:ea typeface="ＭＳ Ｐゴシック" panose="020B0600070205080204" pitchFamily="34" charset="-128"/>
              </a:rPr>
              <a:pPr/>
              <a:t>2013 NDHS</a:t>
            </a:fld>
            <a:endParaRPr kumimoji="0" lang="en-GB" sz="20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4E184A3B-5393-C2EF-8D8D-4E4DBF5C294C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2776538" y="26101675"/>
            <a:ext cx="777875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57273" indent="-357273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4097" indent="-297729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0919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7287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43652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0021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6390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72756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49124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A3414B0-D928-4970-B719-5C6D9344BCC3}" type="datetime'''''''2''01''''4'''' ''''''S''M''''''''''''''''''''''A''RT'">
              <a:rPr lang="en-GB" altLang="en-US" sz="2000" smtClean="0">
                <a:solidFill>
                  <a:srgbClr val="333333"/>
                </a:solidFill>
                <a:ea typeface="ＭＳ Ｐゴシック" panose="020B0600070205080204" pitchFamily="34" charset="-128"/>
              </a:rPr>
              <a:pPr/>
              <a:t>2014 SMART</a:t>
            </a:fld>
            <a:endParaRPr kumimoji="0" lang="en-GB" sz="20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663F0D14-57C1-E08F-8E25-EF2A402DE4E3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3867150" y="26101675"/>
            <a:ext cx="777875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57273" indent="-357273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4097" indent="-297729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0919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7287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43652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0021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6390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72756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49124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70F688A0-1DB6-418D-8828-34336FA2301D}" type="datetime'''''''2''''''''''''''01''''''''''5 ''''''S''MA''''''R''T'''''">
              <a:rPr lang="en-GB" altLang="en-US" sz="2000" smtClean="0">
                <a:solidFill>
                  <a:srgbClr val="333333"/>
                </a:solidFill>
                <a:ea typeface="ＭＳ Ｐゴシック" panose="020B0600070205080204" pitchFamily="34" charset="-128"/>
              </a:rPr>
              <a:pPr/>
              <a:t>2015 SMART</a:t>
            </a:fld>
            <a:endParaRPr kumimoji="0" lang="en-GB" sz="20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3" name="Text Placeholder 2">
            <a:extLst>
              <a:ext uri="{FF2B5EF4-FFF2-40B4-BE49-F238E27FC236}">
                <a16:creationId xmlns:a16="http://schemas.microsoft.com/office/drawing/2014/main" id="{A7F4B727-F8A4-37B8-0202-A1D3CC46C587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4722813" y="26101675"/>
            <a:ext cx="124936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57273" indent="-357273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4097" indent="-297729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0919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7287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43652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0021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6390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72756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49124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81A50C7E-414A-47B5-9493-BAFC6B1DE085}" type="datetime'20''16 MI''C''''''''''''''''''''S/N''''''I''''''C''S'''''''''">
              <a:rPr lang="en-GB" altLang="en-US" sz="2000" smtClean="0">
                <a:solidFill>
                  <a:srgbClr val="333333"/>
                </a:solidFill>
                <a:ea typeface="ＭＳ Ｐゴシック" panose="020B0600070205080204" pitchFamily="34" charset="-128"/>
              </a:rPr>
              <a:pPr/>
              <a:t>2016 MICS/NICS</a:t>
            </a:fld>
            <a:endParaRPr kumimoji="0" lang="en-GB" sz="20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96AFF639-9649-B2AC-4E90-C02B9195ADD7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6046788" y="26101675"/>
            <a:ext cx="777875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57273" indent="-357273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4097" indent="-297729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0919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7287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43652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0021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6390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72756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49124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D3A57C7F-BCE2-4D52-9FBF-B48CCF9EA05B}" type="datetime'''2''''0''''''1''''8'''''' S''''''M''''''A''''RT'''">
              <a:rPr lang="en-GB" altLang="en-US" sz="2000" smtClean="0">
                <a:solidFill>
                  <a:srgbClr val="333333"/>
                </a:solidFill>
                <a:ea typeface="ＭＳ Ｐゴシック" panose="020B0600070205080204" pitchFamily="34" charset="-128"/>
              </a:rPr>
              <a:pPr/>
              <a:t>2018 SMART</a:t>
            </a:fld>
            <a:endParaRPr kumimoji="0" lang="en-GB" sz="20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017740AB-0882-70A3-CE89-87A7F7778250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7181850" y="26101675"/>
            <a:ext cx="69056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57273" indent="-357273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4097" indent="-297729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0919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7287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43652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0021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6390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72756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49124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5640E263-2785-476F-8DB3-7704D459581E}" type="datetime'''2''''''''''''''''0''''''18'''''' ''ND''''''''''H''''''''''S'">
              <a:rPr lang="en-GB" altLang="en-US" sz="2000" smtClean="0">
                <a:solidFill>
                  <a:srgbClr val="333333"/>
                </a:solidFill>
                <a:ea typeface="ＭＳ Ｐゴシック" panose="020B0600070205080204" pitchFamily="34" charset="-128"/>
              </a:rPr>
              <a:pPr/>
              <a:t>2018 NDHS</a:t>
            </a:fld>
            <a:endParaRPr kumimoji="0" lang="en-GB" sz="20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6" name="Text Placeholder 2">
            <a:extLst>
              <a:ext uri="{FF2B5EF4-FFF2-40B4-BE49-F238E27FC236}">
                <a16:creationId xmlns:a16="http://schemas.microsoft.com/office/drawing/2014/main" id="{DAE65FCB-17EE-A6C9-B0A8-091BA0D62A49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228013" y="26101675"/>
            <a:ext cx="777875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57273" indent="-357273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4097" indent="-297729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0919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7287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43652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0021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6390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72756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49124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C219749C-A03F-4016-8786-01322949A62F}" type="datetime'''''''''''''''''''201''9'''''' ''''SM''A''R''''T'''''''''''">
              <a:rPr lang="en-GB" altLang="en-US" sz="2000" smtClean="0">
                <a:solidFill>
                  <a:srgbClr val="333333"/>
                </a:solidFill>
                <a:ea typeface="ＭＳ Ｐゴシック" panose="020B0600070205080204" pitchFamily="34" charset="-128"/>
              </a:rPr>
              <a:pPr/>
              <a:t>2019 SMART</a:t>
            </a:fld>
            <a:endParaRPr kumimoji="0" lang="en-GB" sz="20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F0F525B0-DFDA-2BEF-657B-00FAA9562997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9083675" y="26101675"/>
            <a:ext cx="1249363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57273" indent="-357273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4097" indent="-297729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0919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7287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43652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0021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6390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72756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49124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0376A35D-8E5A-4C0C-8DFE-20B2482C3FEF}" type="datetime'2''0''2''1'''''' ''MI''CS''''''/''''N''''''''''''''I''''CS'">
              <a:rPr lang="en-GB" altLang="en-US" sz="2000" smtClean="0">
                <a:solidFill>
                  <a:srgbClr val="333333"/>
                </a:solidFill>
                <a:ea typeface="ＭＳ Ｐゴシック" panose="020B0600070205080204" pitchFamily="34" charset="-128"/>
              </a:rPr>
              <a:pPr/>
              <a:t>2021 MICS/NICS</a:t>
            </a:fld>
            <a:endParaRPr kumimoji="0" lang="en-GB" sz="20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1B1BF323-168D-4D86-02EB-84DC4869058E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10483850" y="23547388"/>
            <a:ext cx="2698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57273" indent="-357273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4097" indent="-297729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0919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7287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43652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0021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6390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72756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49124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  <a:defRPr/>
            </a:pPr>
            <a:fld id="{2721094C-2115-44C8-B0CA-9F3AE4051665}" type="datetime'''''''''8''''''''''''''''''''''''''''0'''''''''''''''''''">
              <a:rPr lang="en-US" altLang="en-US" sz="2000" smtClean="0">
                <a:solidFill>
                  <a:srgbClr val="333333"/>
                </a:solidFill>
                <a:ea typeface="ＭＳ Ｐゴシック" panose="020B0600070205080204" pitchFamily="34" charset="-128"/>
              </a:rPr>
              <a:pPr/>
              <a:t>80</a:t>
            </a:fld>
            <a:endParaRPr kumimoji="0" lang="en-GB" sz="2000" b="0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D7F084DF-24D3-5502-A2A0-E46E8E1A6165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7240587" y="23337838"/>
            <a:ext cx="573088" cy="43180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57273" indent="-357273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74097" indent="-297729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90919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67287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43652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20021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96390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72756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49124" indent="-238185" algn="l" defTabSz="952736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5273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5A055F0-B65A-40EF-A13A-B33262416309}" type="datetime'+''''''''''''2''''''''''''''''''''''''''''''''''''''3'''">
              <a:rPr lang="en-US" altLang="en-US" sz="2000" b="1" smtClean="0">
                <a:solidFill>
                  <a:srgbClr val="333333"/>
                </a:solidFill>
                <a:effectLst/>
                <a:ea typeface="ＭＳ Ｐゴシック" panose="020B0600070205080204" pitchFamily="34" charset="-128"/>
              </a:rPr>
              <a:pPr/>
              <a:t>+23</a:t>
            </a:fld>
            <a:endParaRPr kumimoji="0" lang="en-GB" sz="2000" b="1" i="0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ea typeface="ＭＳ Ｐゴシック" panose="020B0600070205080204" pitchFamily="34" charset="-128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C96E791B-A5C3-B119-18D2-8B2D04E65512}"/>
              </a:ext>
            </a:extLst>
          </p:cNvPr>
          <p:cNvGrpSpPr/>
          <p:nvPr/>
        </p:nvGrpSpPr>
        <p:grpSpPr>
          <a:xfrm>
            <a:off x="499907" y="32214399"/>
            <a:ext cx="10253818" cy="5751474"/>
            <a:chOff x="335380" y="866806"/>
            <a:chExt cx="6152026" cy="3810138"/>
          </a:xfrm>
        </p:grpSpPr>
        <p:sp>
          <p:nvSpPr>
            <p:cNvPr id="84" name="object 11">
              <a:extLst>
                <a:ext uri="{FF2B5EF4-FFF2-40B4-BE49-F238E27FC236}">
                  <a16:creationId xmlns:a16="http://schemas.microsoft.com/office/drawing/2014/main" id="{940F86B3-01AA-5AC0-EFEE-2B6801B41E36}"/>
                </a:ext>
              </a:extLst>
            </p:cNvPr>
            <p:cNvSpPr txBox="1"/>
            <p:nvPr/>
          </p:nvSpPr>
          <p:spPr>
            <a:xfrm>
              <a:off x="422426" y="866806"/>
              <a:ext cx="4957648" cy="545256"/>
            </a:xfrm>
            <a:prstGeom prst="rect">
              <a:avLst/>
            </a:prstGeom>
          </p:spPr>
          <p:txBody>
            <a:bodyPr vert="horz" wrap="square" lIns="0" tIns="159385" rIns="0" bIns="0" rtlCol="0">
              <a:spAutoFit/>
            </a:bodyPr>
            <a:lstStyle/>
            <a:p>
              <a:pPr marL="12700" marR="5080">
                <a:lnSpc>
                  <a:spcPts val="2160"/>
                </a:lnSpc>
                <a:spcBef>
                  <a:spcPts val="1235"/>
                </a:spcBef>
              </a:pPr>
              <a:r>
                <a:rPr sz="3200" b="1" spc="-15" dirty="0">
                  <a:cs typeface="Calibri"/>
                </a:rPr>
                <a:t>LGAs </a:t>
              </a:r>
              <a:r>
                <a:rPr lang="en-US" sz="3200" b="1" spc="-15" dirty="0">
                  <a:cs typeface="Calibri"/>
                </a:rPr>
                <a:t>were</a:t>
              </a:r>
              <a:r>
                <a:rPr sz="3200" b="1" spc="-15" dirty="0">
                  <a:cs typeface="Calibri"/>
                </a:rPr>
                <a:t> </a:t>
              </a:r>
              <a:r>
                <a:rPr sz="3200" b="1" spc="-5" dirty="0">
                  <a:cs typeface="Calibri"/>
                </a:rPr>
                <a:t>prioritized </a:t>
              </a:r>
              <a:r>
                <a:rPr sz="3200" spc="-5" dirty="0">
                  <a:cs typeface="Calibri"/>
                </a:rPr>
                <a:t>based on </a:t>
              </a:r>
              <a:r>
                <a:rPr sz="3200" dirty="0">
                  <a:cs typeface="Calibri"/>
                </a:rPr>
                <a:t>the </a:t>
              </a:r>
              <a:r>
                <a:rPr sz="3200" spc="-10" dirty="0">
                  <a:cs typeface="Calibri"/>
                </a:rPr>
                <a:t>scores given </a:t>
              </a:r>
              <a:r>
                <a:rPr sz="3200" spc="-15" dirty="0">
                  <a:cs typeface="Calibri"/>
                </a:rPr>
                <a:t>to </a:t>
              </a:r>
              <a:r>
                <a:rPr sz="3200" dirty="0">
                  <a:cs typeface="Calibri"/>
                </a:rPr>
                <a:t>the </a:t>
              </a:r>
              <a:r>
                <a:rPr sz="3200" spc="-5" dirty="0">
                  <a:cs typeface="Calibri"/>
                </a:rPr>
                <a:t>below </a:t>
              </a:r>
              <a:r>
                <a:rPr sz="3200" spc="-15" dirty="0">
                  <a:cs typeface="Calibri"/>
                </a:rPr>
                <a:t>indicators  </a:t>
              </a:r>
              <a:r>
                <a:rPr sz="3200" dirty="0">
                  <a:cs typeface="Calibri"/>
                </a:rPr>
                <a:t>and</a:t>
              </a:r>
              <a:r>
                <a:rPr sz="3200" spc="-10" dirty="0">
                  <a:cs typeface="Calibri"/>
                </a:rPr>
                <a:t> </a:t>
              </a:r>
              <a:r>
                <a:rPr sz="3200" spc="-5" dirty="0">
                  <a:cs typeface="Calibri"/>
                </a:rPr>
                <a:t>weights:</a:t>
              </a:r>
              <a:endParaRPr sz="3200" dirty="0">
                <a:cs typeface="Calibri"/>
              </a:endParaRPr>
            </a:p>
          </p:txBody>
        </p:sp>
        <p:sp>
          <p:nvSpPr>
            <p:cNvPr id="85" name="object 3">
              <a:extLst>
                <a:ext uri="{FF2B5EF4-FFF2-40B4-BE49-F238E27FC236}">
                  <a16:creationId xmlns:a16="http://schemas.microsoft.com/office/drawing/2014/main" id="{ECBE85B4-CD60-8D2B-D252-E7D0A61FEB7F}"/>
                </a:ext>
              </a:extLst>
            </p:cNvPr>
            <p:cNvSpPr/>
            <p:nvPr/>
          </p:nvSpPr>
          <p:spPr>
            <a:xfrm>
              <a:off x="799293" y="2869811"/>
              <a:ext cx="1851654" cy="1071880"/>
            </a:xfrm>
            <a:custGeom>
              <a:avLst/>
              <a:gdLst/>
              <a:ahLst/>
              <a:cxnLst/>
              <a:rect l="l" t="t" r="r" b="b"/>
              <a:pathLst>
                <a:path w="1927860" h="1071879">
                  <a:moveTo>
                    <a:pt x="0" y="1071372"/>
                  </a:moveTo>
                  <a:lnTo>
                    <a:pt x="1927860" y="1071372"/>
                  </a:lnTo>
                  <a:lnTo>
                    <a:pt x="1927860" y="0"/>
                  </a:lnTo>
                  <a:lnTo>
                    <a:pt x="0" y="0"/>
                  </a:lnTo>
                  <a:lnTo>
                    <a:pt x="0" y="107137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</p:spPr>
          <p:txBody>
            <a:bodyPr wrap="square" lIns="0" tIns="0" rIns="0" bIns="0" rtlCol="0"/>
            <a:lstStyle/>
            <a:p>
              <a:endParaRPr sz="2800"/>
            </a:p>
          </p:txBody>
        </p:sp>
        <p:sp>
          <p:nvSpPr>
            <p:cNvPr id="86" name="object 5">
              <a:extLst>
                <a:ext uri="{FF2B5EF4-FFF2-40B4-BE49-F238E27FC236}">
                  <a16:creationId xmlns:a16="http://schemas.microsoft.com/office/drawing/2014/main" id="{E52079C8-CFFD-CA7A-5C70-AFD77EE7ADEF}"/>
                </a:ext>
              </a:extLst>
            </p:cNvPr>
            <p:cNvSpPr/>
            <p:nvPr/>
          </p:nvSpPr>
          <p:spPr>
            <a:xfrm>
              <a:off x="2523564" y="2705029"/>
              <a:ext cx="3943416" cy="1396365"/>
            </a:xfrm>
            <a:custGeom>
              <a:avLst/>
              <a:gdLst/>
              <a:ahLst/>
              <a:cxnLst/>
              <a:rect l="l" t="t" r="r" b="b"/>
              <a:pathLst>
                <a:path w="4805680" h="1396364">
                  <a:moveTo>
                    <a:pt x="4805172" y="1163320"/>
                  </a:moveTo>
                  <a:lnTo>
                    <a:pt x="1728215" y="1163320"/>
                  </a:lnTo>
                  <a:lnTo>
                    <a:pt x="1728215" y="1395984"/>
                  </a:lnTo>
                  <a:lnTo>
                    <a:pt x="4805172" y="1395984"/>
                  </a:lnTo>
                  <a:lnTo>
                    <a:pt x="4805172" y="1163320"/>
                  </a:lnTo>
                  <a:close/>
                </a:path>
                <a:path w="4805680" h="1396364">
                  <a:moveTo>
                    <a:pt x="4805172" y="0"/>
                  </a:moveTo>
                  <a:lnTo>
                    <a:pt x="1728215" y="0"/>
                  </a:lnTo>
                  <a:lnTo>
                    <a:pt x="1728215" y="814324"/>
                  </a:lnTo>
                  <a:lnTo>
                    <a:pt x="0" y="1231392"/>
                  </a:lnTo>
                  <a:lnTo>
                    <a:pt x="1728215" y="1163320"/>
                  </a:lnTo>
                  <a:lnTo>
                    <a:pt x="4805172" y="1163320"/>
                  </a:lnTo>
                  <a:lnTo>
                    <a:pt x="4805172" y="0"/>
                  </a:lnTo>
                  <a:close/>
                </a:path>
              </a:pathLst>
            </a:custGeom>
            <a:solidFill>
              <a:srgbClr val="6FAC46"/>
            </a:solidFill>
          </p:spPr>
          <p:txBody>
            <a:bodyPr wrap="square" lIns="0" tIns="0" rIns="0" bIns="0" rtlCol="0"/>
            <a:lstStyle/>
            <a:p>
              <a:endParaRPr sz="2800"/>
            </a:p>
          </p:txBody>
        </p:sp>
        <p:sp>
          <p:nvSpPr>
            <p:cNvPr id="87" name="object 6">
              <a:extLst>
                <a:ext uri="{FF2B5EF4-FFF2-40B4-BE49-F238E27FC236}">
                  <a16:creationId xmlns:a16="http://schemas.microsoft.com/office/drawing/2014/main" id="{5CB9CB98-5FDD-080A-5E33-013382E21F49}"/>
                </a:ext>
              </a:extLst>
            </p:cNvPr>
            <p:cNvSpPr/>
            <p:nvPr/>
          </p:nvSpPr>
          <p:spPr>
            <a:xfrm>
              <a:off x="2543990" y="2683764"/>
              <a:ext cx="3943415" cy="1396365"/>
            </a:xfrm>
            <a:custGeom>
              <a:avLst/>
              <a:gdLst/>
              <a:ahLst/>
              <a:cxnLst/>
              <a:rect l="l" t="t" r="r" b="b"/>
              <a:pathLst>
                <a:path w="4805680" h="1396364">
                  <a:moveTo>
                    <a:pt x="1728215" y="0"/>
                  </a:moveTo>
                  <a:lnTo>
                    <a:pt x="2241041" y="0"/>
                  </a:lnTo>
                  <a:lnTo>
                    <a:pt x="3010280" y="0"/>
                  </a:lnTo>
                  <a:lnTo>
                    <a:pt x="4805172" y="0"/>
                  </a:lnTo>
                  <a:lnTo>
                    <a:pt x="4805172" y="814324"/>
                  </a:lnTo>
                  <a:lnTo>
                    <a:pt x="4805172" y="1163320"/>
                  </a:lnTo>
                  <a:lnTo>
                    <a:pt x="4805172" y="1395984"/>
                  </a:lnTo>
                  <a:lnTo>
                    <a:pt x="3010280" y="1395984"/>
                  </a:lnTo>
                  <a:lnTo>
                    <a:pt x="2241041" y="1395984"/>
                  </a:lnTo>
                  <a:lnTo>
                    <a:pt x="1728215" y="1395984"/>
                  </a:lnTo>
                  <a:lnTo>
                    <a:pt x="1728215" y="1163320"/>
                  </a:lnTo>
                  <a:lnTo>
                    <a:pt x="0" y="1231392"/>
                  </a:lnTo>
                  <a:lnTo>
                    <a:pt x="1728215" y="814324"/>
                  </a:lnTo>
                  <a:lnTo>
                    <a:pt x="1728215" y="0"/>
                  </a:lnTo>
                  <a:close/>
                </a:path>
              </a:pathLst>
            </a:custGeom>
            <a:solidFill>
              <a:schemeClr val="tx2"/>
            </a:solidFill>
            <a:ln w="12700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 sz="2800"/>
            </a:p>
          </p:txBody>
        </p:sp>
        <p:sp>
          <p:nvSpPr>
            <p:cNvPr id="88" name="object 7">
              <a:extLst>
                <a:ext uri="{FF2B5EF4-FFF2-40B4-BE49-F238E27FC236}">
                  <a16:creationId xmlns:a16="http://schemas.microsoft.com/office/drawing/2014/main" id="{3B9877FC-AFB2-F16D-5EA6-0E0B1782CD8A}"/>
                </a:ext>
              </a:extLst>
            </p:cNvPr>
            <p:cNvSpPr txBox="1"/>
            <p:nvPr/>
          </p:nvSpPr>
          <p:spPr>
            <a:xfrm>
              <a:off x="4165687" y="2858545"/>
              <a:ext cx="2232424" cy="1232207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5080">
                <a:lnSpc>
                  <a:spcPct val="100000"/>
                </a:lnSpc>
                <a:spcBef>
                  <a:spcPts val="100"/>
                </a:spcBef>
              </a:pPr>
              <a:r>
                <a:rPr sz="2800" spc="-10" dirty="0">
                  <a:solidFill>
                    <a:srgbClr val="FFFFFF"/>
                  </a:solidFill>
                  <a:cs typeface="Calibri"/>
                </a:rPr>
                <a:t>Coverage scores are </a:t>
              </a:r>
              <a:r>
                <a:rPr sz="2800" spc="-5" dirty="0">
                  <a:solidFill>
                    <a:srgbClr val="FFFFFF"/>
                  </a:solidFill>
                  <a:cs typeface="Calibri"/>
                </a:rPr>
                <a:t>only  given </a:t>
              </a:r>
              <a:r>
                <a:rPr sz="2800" b="1" spc="-10" dirty="0">
                  <a:solidFill>
                    <a:srgbClr val="FFFFFF"/>
                  </a:solidFill>
                  <a:cs typeface="Calibri"/>
                </a:rPr>
                <a:t>to </a:t>
              </a:r>
              <a:r>
                <a:rPr sz="2800" b="1" dirty="0">
                  <a:solidFill>
                    <a:srgbClr val="FFFFFF"/>
                  </a:solidFill>
                  <a:cs typeface="Calibri"/>
                </a:rPr>
                <a:t>only </a:t>
              </a:r>
              <a:r>
                <a:rPr sz="2800" b="1" spc="-15" dirty="0">
                  <a:solidFill>
                    <a:srgbClr val="FFFFFF"/>
                  </a:solidFill>
                  <a:cs typeface="Calibri"/>
                </a:rPr>
                <a:t>LGAs </a:t>
              </a:r>
              <a:r>
                <a:rPr sz="2800" b="1" spc="-5" dirty="0">
                  <a:solidFill>
                    <a:srgbClr val="FFFFFF"/>
                  </a:solidFill>
                  <a:cs typeface="Calibri"/>
                </a:rPr>
                <a:t>above  median (top </a:t>
              </a:r>
              <a:r>
                <a:rPr sz="2800" b="1" dirty="0">
                  <a:solidFill>
                    <a:srgbClr val="FFFFFF"/>
                  </a:solidFill>
                  <a:cs typeface="Calibri"/>
                </a:rPr>
                <a:t>50%</a:t>
              </a:r>
              <a:r>
                <a:rPr sz="2800" b="1" spc="-55" dirty="0">
                  <a:solidFill>
                    <a:srgbClr val="FFFFFF"/>
                  </a:solidFill>
                  <a:cs typeface="Calibri"/>
                </a:rPr>
                <a:t> </a:t>
              </a:r>
              <a:r>
                <a:rPr sz="2800" b="1" spc="-10" dirty="0">
                  <a:solidFill>
                    <a:srgbClr val="FFFFFF"/>
                  </a:solidFill>
                  <a:cs typeface="Calibri"/>
                </a:rPr>
                <a:t>percentile)</a:t>
              </a:r>
              <a:endParaRPr sz="2800" dirty="0">
                <a:cs typeface="Calibri"/>
              </a:endParaRPr>
            </a:p>
          </p:txBody>
        </p:sp>
        <p:sp>
          <p:nvSpPr>
            <p:cNvPr id="89" name="object 8">
              <a:extLst>
                <a:ext uri="{FF2B5EF4-FFF2-40B4-BE49-F238E27FC236}">
                  <a16:creationId xmlns:a16="http://schemas.microsoft.com/office/drawing/2014/main" id="{2EF419B6-04D1-F6CF-7FDA-1C515BED6DD0}"/>
                </a:ext>
              </a:extLst>
            </p:cNvPr>
            <p:cNvSpPr txBox="1"/>
            <p:nvPr/>
          </p:nvSpPr>
          <p:spPr>
            <a:xfrm>
              <a:off x="920906" y="1485742"/>
              <a:ext cx="3466058" cy="1512046"/>
            </a:xfrm>
            <a:prstGeom prst="rect">
              <a:avLst/>
            </a:prstGeom>
          </p:spPr>
          <p:txBody>
            <a:bodyPr vert="horz" wrap="square" lIns="0" tIns="45085" rIns="0" bIns="0" rtlCol="0">
              <a:spAutoFit/>
            </a:bodyPr>
            <a:lstStyle/>
            <a:p>
              <a:pPr marL="393700" indent="-381000">
                <a:lnSpc>
                  <a:spcPct val="100000"/>
                </a:lnSpc>
                <a:spcBef>
                  <a:spcPts val="355"/>
                </a:spcBef>
                <a:buFont typeface="Arial"/>
                <a:buChar char="•"/>
                <a:tabLst>
                  <a:tab pos="393065" algn="l"/>
                  <a:tab pos="393700" algn="l"/>
                </a:tabLst>
              </a:pPr>
              <a:r>
                <a:rPr sz="3200" dirty="0">
                  <a:cs typeface="Calibri"/>
                </a:rPr>
                <a:t>Measles </a:t>
              </a:r>
              <a:r>
                <a:rPr sz="3200" spc="-5" dirty="0">
                  <a:cs typeface="Calibri"/>
                </a:rPr>
                <a:t>outbreak </a:t>
              </a:r>
              <a:r>
                <a:rPr sz="3200" dirty="0">
                  <a:cs typeface="Calibri"/>
                </a:rPr>
                <a:t>-</a:t>
              </a:r>
              <a:r>
                <a:rPr sz="3200" spc="-25" dirty="0">
                  <a:cs typeface="Calibri"/>
                </a:rPr>
                <a:t> </a:t>
              </a:r>
              <a:r>
                <a:rPr sz="3200" dirty="0">
                  <a:cs typeface="Calibri"/>
                </a:rPr>
                <a:t>1</a:t>
              </a:r>
            </a:p>
            <a:p>
              <a:pPr marL="393700" indent="-381000">
                <a:lnSpc>
                  <a:spcPct val="100000"/>
                </a:lnSpc>
                <a:spcBef>
                  <a:spcPts val="254"/>
                </a:spcBef>
                <a:buFont typeface="Arial"/>
                <a:buChar char="•"/>
                <a:tabLst>
                  <a:tab pos="393065" algn="l"/>
                  <a:tab pos="393700" algn="l"/>
                </a:tabLst>
              </a:pPr>
              <a:r>
                <a:rPr sz="3200" spc="-5" dirty="0">
                  <a:cs typeface="Calibri"/>
                </a:rPr>
                <a:t>cVPV2 Outbreak </a:t>
              </a:r>
              <a:r>
                <a:rPr sz="3200" dirty="0">
                  <a:cs typeface="Calibri"/>
                </a:rPr>
                <a:t>-</a:t>
              </a:r>
              <a:r>
                <a:rPr sz="3200" spc="-30" dirty="0">
                  <a:cs typeface="Calibri"/>
                </a:rPr>
                <a:t> </a:t>
              </a:r>
              <a:r>
                <a:rPr sz="3200" dirty="0">
                  <a:cs typeface="Calibri"/>
                </a:rPr>
                <a:t>2</a:t>
              </a:r>
            </a:p>
            <a:p>
              <a:pPr marL="393700" indent="-381000">
                <a:lnSpc>
                  <a:spcPct val="100000"/>
                </a:lnSpc>
                <a:spcBef>
                  <a:spcPts val="260"/>
                </a:spcBef>
                <a:buFont typeface="Arial"/>
                <a:buChar char="•"/>
                <a:tabLst>
                  <a:tab pos="393065" algn="l"/>
                  <a:tab pos="393700" algn="l"/>
                </a:tabLst>
              </a:pPr>
              <a:r>
                <a:rPr sz="3200" spc="-5" dirty="0">
                  <a:cs typeface="Calibri"/>
                </a:rPr>
                <a:t>cVPV2 </a:t>
              </a:r>
              <a:r>
                <a:rPr sz="3200" spc="-10" dirty="0">
                  <a:cs typeface="Calibri"/>
                </a:rPr>
                <a:t>Breakthrough </a:t>
              </a:r>
              <a:r>
                <a:rPr sz="3200" dirty="0">
                  <a:cs typeface="Calibri"/>
                </a:rPr>
                <a:t>–</a:t>
              </a:r>
              <a:r>
                <a:rPr sz="3200" spc="-25" dirty="0">
                  <a:cs typeface="Calibri"/>
                </a:rPr>
                <a:t> </a:t>
              </a:r>
              <a:r>
                <a:rPr sz="3200" dirty="0">
                  <a:cs typeface="Calibri"/>
                </a:rPr>
                <a:t>1</a:t>
              </a:r>
            </a:p>
            <a:p>
              <a:pPr marL="393700" indent="-381000">
                <a:lnSpc>
                  <a:spcPct val="100000"/>
                </a:lnSpc>
                <a:spcBef>
                  <a:spcPts val="265"/>
                </a:spcBef>
                <a:buFont typeface="Arial"/>
                <a:buChar char="•"/>
                <a:tabLst>
                  <a:tab pos="393065" algn="l"/>
                  <a:tab pos="393700" algn="l"/>
                </a:tabLst>
              </a:pPr>
              <a:r>
                <a:rPr sz="3200" spc="-15" dirty="0">
                  <a:cs typeface="Calibri"/>
                </a:rPr>
                <a:t>LQAS </a:t>
              </a:r>
              <a:r>
                <a:rPr sz="3200" spc="-10" dirty="0">
                  <a:cs typeface="Calibri"/>
                </a:rPr>
                <a:t>failure </a:t>
              </a:r>
              <a:r>
                <a:rPr sz="3200" dirty="0">
                  <a:cs typeface="Calibri"/>
                </a:rPr>
                <a:t>–</a:t>
              </a:r>
              <a:r>
                <a:rPr sz="3200" spc="20" dirty="0">
                  <a:cs typeface="Calibri"/>
                </a:rPr>
                <a:t> </a:t>
              </a:r>
              <a:r>
                <a:rPr sz="3200" dirty="0">
                  <a:cs typeface="Calibri"/>
                </a:rPr>
                <a:t>1</a:t>
              </a:r>
            </a:p>
          </p:txBody>
        </p:sp>
        <p:sp>
          <p:nvSpPr>
            <p:cNvPr id="93" name="object 9">
              <a:extLst>
                <a:ext uri="{FF2B5EF4-FFF2-40B4-BE49-F238E27FC236}">
                  <a16:creationId xmlns:a16="http://schemas.microsoft.com/office/drawing/2014/main" id="{B0E53E3C-E24B-0E36-8837-47FC407F0788}"/>
                </a:ext>
              </a:extLst>
            </p:cNvPr>
            <p:cNvSpPr txBox="1"/>
            <p:nvPr/>
          </p:nvSpPr>
          <p:spPr>
            <a:xfrm>
              <a:off x="920906" y="2881239"/>
              <a:ext cx="1623084" cy="1136196"/>
            </a:xfrm>
            <a:prstGeom prst="rect">
              <a:avLst/>
            </a:prstGeom>
          </p:spPr>
          <p:txBody>
            <a:bodyPr vert="horz" wrap="square" lIns="0" tIns="46355" rIns="0" bIns="0" rtlCol="0">
              <a:spAutoFit/>
            </a:bodyPr>
            <a:lstStyle/>
            <a:p>
              <a:pPr marL="393700" indent="-381000">
                <a:lnSpc>
                  <a:spcPct val="100000"/>
                </a:lnSpc>
                <a:spcBef>
                  <a:spcPts val="365"/>
                </a:spcBef>
                <a:buFont typeface="Arial"/>
                <a:buChar char="•"/>
                <a:tabLst>
                  <a:tab pos="393065" algn="l"/>
                  <a:tab pos="393700" algn="l"/>
                </a:tabLst>
              </a:pPr>
              <a:r>
                <a:rPr sz="3200" spc="-10" dirty="0">
                  <a:cs typeface="Calibri"/>
                </a:rPr>
                <a:t>DTP0 </a:t>
              </a:r>
              <a:r>
                <a:rPr sz="3200" dirty="0">
                  <a:cs typeface="Calibri"/>
                </a:rPr>
                <a:t>–</a:t>
              </a:r>
              <a:r>
                <a:rPr sz="3200" spc="-85" dirty="0">
                  <a:cs typeface="Calibri"/>
                </a:rPr>
                <a:t> </a:t>
              </a:r>
              <a:r>
                <a:rPr sz="3200" dirty="0">
                  <a:cs typeface="Calibri"/>
                </a:rPr>
                <a:t>7</a:t>
              </a:r>
            </a:p>
            <a:p>
              <a:pPr marL="393700" indent="-381000">
                <a:lnSpc>
                  <a:spcPct val="100000"/>
                </a:lnSpc>
                <a:spcBef>
                  <a:spcPts val="265"/>
                </a:spcBef>
                <a:buFont typeface="Arial"/>
                <a:buChar char="•"/>
                <a:tabLst>
                  <a:tab pos="393065" algn="l"/>
                  <a:tab pos="393700" algn="l"/>
                </a:tabLst>
              </a:pPr>
              <a:r>
                <a:rPr sz="3200" spc="-10" dirty="0">
                  <a:cs typeface="Calibri"/>
                </a:rPr>
                <a:t>DTP3 </a:t>
              </a:r>
              <a:r>
                <a:rPr sz="3200" dirty="0">
                  <a:cs typeface="Calibri"/>
                </a:rPr>
                <a:t>–</a:t>
              </a:r>
              <a:r>
                <a:rPr sz="3200" spc="-85" dirty="0">
                  <a:cs typeface="Calibri"/>
                </a:rPr>
                <a:t> </a:t>
              </a:r>
              <a:r>
                <a:rPr sz="3200" dirty="0">
                  <a:cs typeface="Calibri"/>
                </a:rPr>
                <a:t>2</a:t>
              </a:r>
            </a:p>
            <a:p>
              <a:pPr marL="393700" indent="-381000">
                <a:lnSpc>
                  <a:spcPct val="100000"/>
                </a:lnSpc>
                <a:spcBef>
                  <a:spcPts val="265"/>
                </a:spcBef>
                <a:buFont typeface="Arial"/>
                <a:buChar char="•"/>
                <a:tabLst>
                  <a:tab pos="393065" algn="l"/>
                  <a:tab pos="393700" algn="l"/>
                </a:tabLst>
              </a:pPr>
              <a:r>
                <a:rPr sz="3200" dirty="0">
                  <a:cs typeface="Calibri"/>
                </a:rPr>
                <a:t>MCV0 –3</a:t>
              </a:r>
            </a:p>
          </p:txBody>
        </p:sp>
        <p:sp>
          <p:nvSpPr>
            <p:cNvPr id="94" name="object 10">
              <a:extLst>
                <a:ext uri="{FF2B5EF4-FFF2-40B4-BE49-F238E27FC236}">
                  <a16:creationId xmlns:a16="http://schemas.microsoft.com/office/drawing/2014/main" id="{469EDB3F-5FD5-D56D-94BD-61D53D695D58}"/>
                </a:ext>
              </a:extLst>
            </p:cNvPr>
            <p:cNvSpPr txBox="1"/>
            <p:nvPr/>
          </p:nvSpPr>
          <p:spPr>
            <a:xfrm>
              <a:off x="335380" y="4221873"/>
              <a:ext cx="6152026" cy="455071"/>
            </a:xfrm>
            <a:prstGeom prst="rect">
              <a:avLst/>
            </a:prstGeom>
          </p:spPr>
          <p:txBody>
            <a:bodyPr vert="horz" wrap="square" lIns="0" tIns="47625" rIns="0" bIns="0" rtlCol="0">
              <a:spAutoFit/>
            </a:bodyPr>
            <a:lstStyle/>
            <a:p>
              <a:pPr marL="12700" marR="5080">
                <a:lnSpc>
                  <a:spcPts val="2160"/>
                </a:lnSpc>
                <a:spcBef>
                  <a:spcPts val="375"/>
                </a:spcBef>
              </a:pPr>
              <a:r>
                <a:rPr sz="2800" dirty="0">
                  <a:cs typeface="Calibri"/>
                </a:rPr>
                <a:t>When multiple </a:t>
              </a:r>
              <a:r>
                <a:rPr sz="2800" spc="-15" dirty="0">
                  <a:cs typeface="Calibri"/>
                </a:rPr>
                <a:t>LGAs </a:t>
              </a:r>
              <a:r>
                <a:rPr sz="2800" spc="-10" dirty="0">
                  <a:cs typeface="Calibri"/>
                </a:rPr>
                <a:t>received </a:t>
              </a:r>
              <a:r>
                <a:rPr sz="2800" dirty="0">
                  <a:cs typeface="Calibri"/>
                </a:rPr>
                <a:t>the </a:t>
              </a:r>
              <a:r>
                <a:rPr sz="2800" spc="-5" dirty="0">
                  <a:cs typeface="Calibri"/>
                </a:rPr>
                <a:t>same </a:t>
              </a:r>
              <a:r>
                <a:rPr sz="2800" spc="-10" dirty="0">
                  <a:cs typeface="Calibri"/>
                </a:rPr>
                <a:t>score, </a:t>
              </a:r>
              <a:r>
                <a:rPr sz="2800" spc="-5" dirty="0">
                  <a:cs typeface="Calibri"/>
                </a:rPr>
                <a:t>they </a:t>
              </a:r>
              <a:r>
                <a:rPr sz="2800" spc="-10" dirty="0">
                  <a:cs typeface="Calibri"/>
                </a:rPr>
                <a:t>are </a:t>
              </a:r>
              <a:r>
                <a:rPr sz="2800" spc="-5" dirty="0">
                  <a:cs typeface="Calibri"/>
                </a:rPr>
                <a:t>further </a:t>
              </a:r>
              <a:r>
                <a:rPr sz="2800" spc="-15" dirty="0">
                  <a:cs typeface="Calibri"/>
                </a:rPr>
                <a:t>ranked  </a:t>
              </a:r>
              <a:r>
                <a:rPr sz="2800" spc="-5" dirty="0">
                  <a:cs typeface="Calibri"/>
                </a:rPr>
                <a:t>by </a:t>
              </a:r>
              <a:r>
                <a:rPr sz="2800" dirty="0">
                  <a:cs typeface="Calibri"/>
                </a:rPr>
                <a:t>the </a:t>
              </a:r>
              <a:r>
                <a:rPr sz="2800" spc="-5" dirty="0">
                  <a:cs typeface="Calibri"/>
                </a:rPr>
                <a:t>number of unimmunized</a:t>
              </a:r>
              <a:r>
                <a:rPr sz="2800" spc="-40" dirty="0">
                  <a:cs typeface="Calibri"/>
                </a:rPr>
                <a:t> </a:t>
              </a:r>
              <a:r>
                <a:rPr sz="2800" spc="-5" dirty="0">
                  <a:cs typeface="Calibri"/>
                </a:rPr>
                <a:t>children.</a:t>
              </a:r>
              <a:endParaRPr sz="2800" dirty="0">
                <a:cs typeface="Calibri"/>
              </a:endParaRPr>
            </a:p>
          </p:txBody>
        </p:sp>
      </p:grpSp>
      <p:sp>
        <p:nvSpPr>
          <p:cNvPr id="39" name="object 4">
            <a:extLst>
              <a:ext uri="{FF2B5EF4-FFF2-40B4-BE49-F238E27FC236}">
                <a16:creationId xmlns:a16="http://schemas.microsoft.com/office/drawing/2014/main" id="{30F71DAF-3DC6-E617-4B7A-8BFC21885BB7}"/>
              </a:ext>
            </a:extLst>
          </p:cNvPr>
          <p:cNvSpPr/>
          <p:nvPr/>
        </p:nvSpPr>
        <p:spPr>
          <a:xfrm>
            <a:off x="332475" y="39553913"/>
            <a:ext cx="10199000" cy="4274359"/>
          </a:xfrm>
          <a:prstGeom prst="rect">
            <a:avLst/>
          </a:prstGeom>
          <a:blipFill>
            <a:blip r:embed="rId7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5">
            <a:extLst>
              <a:ext uri="{FF2B5EF4-FFF2-40B4-BE49-F238E27FC236}">
                <a16:creationId xmlns:a16="http://schemas.microsoft.com/office/drawing/2014/main" id="{0A2E3C88-0AAE-7FFC-EF05-D94FAAC9D00A}"/>
              </a:ext>
            </a:extLst>
          </p:cNvPr>
          <p:cNvSpPr/>
          <p:nvPr/>
        </p:nvSpPr>
        <p:spPr>
          <a:xfrm>
            <a:off x="332475" y="44216761"/>
            <a:ext cx="10000563" cy="4121313"/>
          </a:xfrm>
          <a:prstGeom prst="rect">
            <a:avLst/>
          </a:prstGeom>
          <a:blipFill>
            <a:blip r:embed="rId7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1544B40-0C8C-477C-7BCD-887536179F42}"/>
              </a:ext>
            </a:extLst>
          </p:cNvPr>
          <p:cNvSpPr txBox="1"/>
          <p:nvPr/>
        </p:nvSpPr>
        <p:spPr>
          <a:xfrm>
            <a:off x="338191" y="43750003"/>
            <a:ext cx="81073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500" b="1" dirty="0"/>
              <a:t>Figure 2. </a:t>
            </a:r>
            <a:r>
              <a:rPr lang="en-US" sz="2800" b="1" spc="-20" dirty="0">
                <a:latin typeface="Calibri"/>
                <a:cs typeface="Calibri"/>
              </a:rPr>
              <a:t>LGA </a:t>
            </a:r>
            <a:r>
              <a:rPr lang="en-US" sz="2800" b="1" spc="-10" dirty="0">
                <a:latin typeface="Calibri"/>
                <a:cs typeface="Calibri"/>
              </a:rPr>
              <a:t>rank </a:t>
            </a:r>
            <a:r>
              <a:rPr lang="en-US" sz="2800" b="1" spc="-5" dirty="0">
                <a:latin typeface="Calibri"/>
                <a:cs typeface="Calibri"/>
              </a:rPr>
              <a:t>by </a:t>
            </a:r>
            <a:r>
              <a:rPr lang="en-US" sz="2800" b="1" dirty="0">
                <a:latin typeface="Calibri"/>
                <a:cs typeface="Calibri"/>
              </a:rPr>
              <a:t>under-1 </a:t>
            </a:r>
            <a:r>
              <a:rPr lang="en-US" sz="2800" b="1" spc="-5" dirty="0">
                <a:latin typeface="Calibri"/>
                <a:cs typeface="Calibri"/>
              </a:rPr>
              <a:t>population</a:t>
            </a:r>
            <a:r>
              <a:rPr lang="en-US" sz="2800" b="1" spc="-55" dirty="0">
                <a:latin typeface="Calibri"/>
                <a:cs typeface="Calibri"/>
              </a:rPr>
              <a:t> </a:t>
            </a:r>
            <a:r>
              <a:rPr lang="en-US" sz="2800" b="1" spc="-15" dirty="0">
                <a:latin typeface="Calibri"/>
                <a:cs typeface="Calibri"/>
              </a:rPr>
              <a:t>size</a:t>
            </a:r>
            <a:endParaRPr lang="en-US" sz="2800" dirty="0">
              <a:latin typeface="Calibri"/>
              <a:cs typeface="Calibri"/>
            </a:endParaRP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46D33B36-85FA-3B96-A7FA-D63D22543DBB}"/>
              </a:ext>
            </a:extLst>
          </p:cNvPr>
          <p:cNvPicPr>
            <a:picLocks noChangeAspect="1"/>
          </p:cNvPicPr>
          <p:nvPr/>
        </p:nvPicPr>
        <p:blipFill>
          <a:blip r:embed="rId72"/>
          <a:stretch>
            <a:fillRect/>
          </a:stretch>
        </p:blipFill>
        <p:spPr>
          <a:xfrm>
            <a:off x="10525127" y="7082213"/>
            <a:ext cx="10093377" cy="7494998"/>
          </a:xfrm>
          <a:prstGeom prst="rect">
            <a:avLst/>
          </a:prstGeom>
        </p:spPr>
      </p:pic>
      <p:sp>
        <p:nvSpPr>
          <p:cNvPr id="51" name="Title 2">
            <a:extLst>
              <a:ext uri="{FF2B5EF4-FFF2-40B4-BE49-F238E27FC236}">
                <a16:creationId xmlns:a16="http://schemas.microsoft.com/office/drawing/2014/main" id="{FC80A61B-3FBA-B331-D051-73AA44886D1D}"/>
              </a:ext>
            </a:extLst>
          </p:cNvPr>
          <p:cNvSpPr txBox="1">
            <a:spLocks/>
          </p:cNvSpPr>
          <p:nvPr/>
        </p:nvSpPr>
        <p:spPr>
          <a:xfrm>
            <a:off x="10797483" y="11724056"/>
            <a:ext cx="9718164" cy="2198756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377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0" kern="1200">
                <a:solidFill>
                  <a:schemeClr val="tx2"/>
                </a:solidFill>
                <a:latin typeface="+mj-lt"/>
                <a:ea typeface="Trebuchet MS" panose="020B0703020202090204" pitchFamily="34" charset="0"/>
                <a:cs typeface="+mj-cs"/>
              </a:defRPr>
            </a:lvl1pPr>
          </a:lstStyle>
          <a:p>
            <a:endParaRPr lang="en-US" sz="3200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2" name="Text Placeholder 16">
            <a:extLst>
              <a:ext uri="{FF2B5EF4-FFF2-40B4-BE49-F238E27FC236}">
                <a16:creationId xmlns:a16="http://schemas.microsoft.com/office/drawing/2014/main" id="{DB9A133F-C271-65DB-8D52-D01EDD8A6162}"/>
              </a:ext>
            </a:extLst>
          </p:cNvPr>
          <p:cNvSpPr txBox="1">
            <a:spLocks/>
          </p:cNvSpPr>
          <p:nvPr/>
        </p:nvSpPr>
        <p:spPr>
          <a:xfrm>
            <a:off x="10619331" y="14753511"/>
            <a:ext cx="9977457" cy="399229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13800" tIns="513800" rIns="513800" bIns="513800">
            <a:spAutoFit/>
          </a:bodyPr>
          <a:lstStyle>
            <a:lvl1pPr marL="0" indent="0" algn="l" defTabSz="2687936" rtl="0" eaLnBrk="1" latinLnBrk="0" hangingPunct="1">
              <a:spcBef>
                <a:spcPct val="20000"/>
              </a:spcBef>
              <a:buFont typeface="Arial" pitchFamily="34" charset="0"/>
              <a:buNone/>
              <a:tabLst/>
              <a:defRPr lang="en-US" sz="31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252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tabLst/>
              <a:defRPr lang="en-US" sz="189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1575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»"/>
              <a:tabLst/>
              <a:defRPr lang="en-US" sz="1575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91828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735795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79764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23733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b="0" dirty="0">
                <a:solidFill>
                  <a:schemeClr val="tx1"/>
                </a:solidFill>
                <a:latin typeface="+mn-lt"/>
              </a:rPr>
              <a:t>Following prioritization, Nigeria discovered 100 LGAs across 18 States contributing the highest burden of zero dose namely; Bauchi, Borno, FCT, Gombe, Jigawa, Kaduna, Kano, Katsina, Kebbi, Lagos, NSR, Niger, Ondo, Plateau, Sokoto, Taraba, Yobe and Zamfara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5A7C4288-B317-DC5F-75CF-442D0E18C4A6}"/>
              </a:ext>
            </a:extLst>
          </p:cNvPr>
          <p:cNvSpPr txBox="1">
            <a:spLocks/>
          </p:cNvSpPr>
          <p:nvPr/>
        </p:nvSpPr>
        <p:spPr>
          <a:xfrm>
            <a:off x="10618787" y="18765310"/>
            <a:ext cx="10009269" cy="784061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>
            <a:lvl1pPr marL="0" indent="0" algn="ctr" defTabSz="2687936" rtl="0" eaLnBrk="1" latinLnBrk="0" hangingPunct="1">
              <a:spcBef>
                <a:spcPct val="20000"/>
              </a:spcBef>
              <a:buFont typeface="Arial" pitchFamily="34" charset="0"/>
              <a:buNone/>
              <a:tabLst/>
              <a:defRPr lang="en-US" sz="3150" b="1" kern="1200" dirty="0">
                <a:solidFill>
                  <a:schemeClr val="bg1">
                    <a:lumMod val="9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5039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tabLst/>
              <a:defRPr lang="en-US" sz="315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252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66679" indent="-466679" algn="l" defTabSz="2687936" rtl="0" eaLnBrk="1" latinLnBrk="0" hangingPunct="1">
              <a:spcBef>
                <a:spcPct val="20000"/>
              </a:spcBef>
              <a:buFont typeface="Arial" pitchFamily="34" charset="0"/>
              <a:buChar char="»"/>
              <a:tabLst/>
              <a:defRPr lang="en-US"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91828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735795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79764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23733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495" dirty="0">
                <a:latin typeface="Trebuchet MS" panose="020B0603020202020204" pitchFamily="34" charset="0"/>
              </a:rPr>
              <a:t>Discussion</a:t>
            </a:r>
            <a:endParaRPr lang="en-NG" sz="4495" dirty="0">
              <a:latin typeface="Trebuchet MS" panose="020B0603020202020204" pitchFamily="34" charset="0"/>
            </a:endParaRPr>
          </a:p>
        </p:txBody>
      </p:sp>
      <p:sp>
        <p:nvSpPr>
          <p:cNvPr id="70" name="Text Placeholder 16">
            <a:extLst>
              <a:ext uri="{FF2B5EF4-FFF2-40B4-BE49-F238E27FC236}">
                <a16:creationId xmlns:a16="http://schemas.microsoft.com/office/drawing/2014/main" id="{F6F3E654-F8BD-75BF-4FF3-D1CD47AF80B9}"/>
              </a:ext>
            </a:extLst>
          </p:cNvPr>
          <p:cNvSpPr txBox="1">
            <a:spLocks/>
          </p:cNvSpPr>
          <p:nvPr/>
        </p:nvSpPr>
        <p:spPr>
          <a:xfrm>
            <a:off x="10626725" y="19594942"/>
            <a:ext cx="9977457" cy="158109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13800" tIns="513800" rIns="513800" bIns="513800">
            <a:spAutoFit/>
          </a:bodyPr>
          <a:lstStyle>
            <a:lvl1pPr marL="0" indent="0" algn="l" defTabSz="2687936" rtl="0" eaLnBrk="1" latinLnBrk="0" hangingPunct="1">
              <a:spcBef>
                <a:spcPct val="20000"/>
              </a:spcBef>
              <a:buFont typeface="Arial" pitchFamily="34" charset="0"/>
              <a:buNone/>
              <a:tabLst/>
              <a:defRPr lang="en-US" sz="31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252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tabLst/>
              <a:defRPr lang="en-US" sz="189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–"/>
              <a:tabLst/>
              <a:defRPr lang="en-US" sz="1575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7499" indent="-364999" algn="l" defTabSz="2687936" rtl="0" eaLnBrk="1" latinLnBrk="0" hangingPunct="1">
              <a:spcBef>
                <a:spcPct val="20000"/>
              </a:spcBef>
              <a:buFont typeface="Arial" pitchFamily="34" charset="0"/>
              <a:buChar char="»"/>
              <a:tabLst/>
              <a:defRPr lang="en-US" sz="1575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391828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735795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079764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1423733" indent="-671984" algn="l" defTabSz="2687936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58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en-US" sz="3200" dirty="0"/>
              <a:t>The determination of actual zero dose numbers was made possible via DHIS2. Nigeria adopted a practical approach of direct engagement with stakeholders across these LGAs. These engagements with the LGAs led to the development of LGA-specific Z-drop plans and the mapping of resources for implementation.</a:t>
            </a:r>
          </a:p>
          <a:p>
            <a:pPr algn="just"/>
            <a:r>
              <a:rPr lang="en-US" sz="3200" dirty="0"/>
              <a:t>Additionally, 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The country is currently promoting a Zero-Dose Learning Agenda aimed at generating evidence on strategies that can be leveraged to successfully identify, enumerate and vaccinate zero-dose children and the missed eligible children in line with the country’s IEV strategy. </a:t>
            </a:r>
          </a:p>
          <a:p>
            <a:pPr algn="just"/>
            <a:r>
              <a:rPr lang="en-US" sz="3200" dirty="0">
                <a:ea typeface="Times New Roman" panose="02020603050405020304" pitchFamily="18" charset="0"/>
              </a:rPr>
              <a:t>Despite the successes, Zero-dose identification and implementation had some limitations </a:t>
            </a:r>
            <a:r>
              <a:rPr lang="en-US" sz="3200" dirty="0" err="1">
                <a:ea typeface="Times New Roman" panose="02020603050405020304" pitchFamily="18" charset="0"/>
              </a:rPr>
              <a:t>e.g</a:t>
            </a:r>
            <a:r>
              <a:rPr lang="en-US" sz="3200" dirty="0">
                <a:ea typeface="Times New Roman" panose="02020603050405020304" pitchFamily="18" charset="0"/>
              </a:rPr>
              <a:t> Denominator issues, inadequate funding </a:t>
            </a:r>
            <a:r>
              <a:rPr lang="en-US" sz="3200" dirty="0" err="1">
                <a:ea typeface="Times New Roman" panose="02020603050405020304" pitchFamily="18" charset="0"/>
              </a:rPr>
              <a:t>etc</a:t>
            </a:r>
            <a:endParaRPr lang="en-US" sz="3200" dirty="0">
              <a:ea typeface="Times New Roman" panose="02020603050405020304" pitchFamily="18" charset="0"/>
            </a:endParaRPr>
          </a:p>
          <a:p>
            <a:pPr algn="just"/>
            <a:r>
              <a:rPr lang="en-US" sz="3200" dirty="0">
                <a:solidFill>
                  <a:schemeClr val="tx1"/>
                </a:solidFill>
              </a:rPr>
              <a:t>In a bid to address some of the identified challenges, the country has adopted the “</a:t>
            </a:r>
            <a:r>
              <a:rPr lang="en-US" sz="3200" b="1" i="1" u="sng" dirty="0">
                <a:solidFill>
                  <a:schemeClr val="tx1"/>
                </a:solidFill>
              </a:rPr>
              <a:t>Identify, Enumerate and Vaccinate (IEV) Strategy</a:t>
            </a:r>
            <a:r>
              <a:rPr lang="en-US" sz="3200" dirty="0">
                <a:solidFill>
                  <a:schemeClr val="tx1"/>
                </a:solidFill>
              </a:rPr>
              <a:t>” which will involve H2H enumeration of eligible children and vaccinate them</a:t>
            </a:r>
          </a:p>
          <a:p>
            <a:pPr algn="just"/>
            <a:endParaRPr lang="en-US" sz="3200" dirty="0"/>
          </a:p>
          <a:p>
            <a:pPr algn="just"/>
            <a:endParaRPr lang="en-US" sz="3200" dirty="0">
              <a:solidFill>
                <a:schemeClr val="tx1"/>
              </a:solidFill>
            </a:endParaRPr>
          </a:p>
          <a:p>
            <a:pPr algn="just"/>
            <a:endParaRPr lang="en-US" sz="3200" dirty="0"/>
          </a:p>
          <a:p>
            <a:pPr algn="just"/>
            <a:endParaRPr lang="en-US" sz="3200" dirty="0">
              <a:solidFill>
                <a:schemeClr val="tx1"/>
              </a:solidFill>
            </a:endParaRPr>
          </a:p>
          <a:p>
            <a:pPr algn="just"/>
            <a:endParaRPr lang="en-US" sz="3200" dirty="0"/>
          </a:p>
          <a:p>
            <a:pPr algn="just"/>
            <a:endParaRPr lang="en-US" sz="3200" dirty="0">
              <a:solidFill>
                <a:schemeClr val="tx1"/>
              </a:solidFill>
            </a:endParaRPr>
          </a:p>
          <a:p>
            <a:pPr algn="just"/>
            <a:endParaRPr lang="en-US" sz="3200" dirty="0"/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35BF8C3A-30DA-9370-E8A5-FB69979DA1D9}"/>
              </a:ext>
            </a:extLst>
          </p:cNvPr>
          <p:cNvGrpSpPr/>
          <p:nvPr/>
        </p:nvGrpSpPr>
        <p:grpSpPr>
          <a:xfrm>
            <a:off x="12015855" y="30316016"/>
            <a:ext cx="5338319" cy="5466435"/>
            <a:chOff x="3048301" y="655229"/>
            <a:chExt cx="5338319" cy="5466435"/>
          </a:xfrm>
        </p:grpSpPr>
        <p:sp>
          <p:nvSpPr>
            <p:cNvPr id="72" name="Google Shape;343;g2c013cbed21_0_138">
              <a:extLst>
                <a:ext uri="{FF2B5EF4-FFF2-40B4-BE49-F238E27FC236}">
                  <a16:creationId xmlns:a16="http://schemas.microsoft.com/office/drawing/2014/main" id="{3CF24773-AAAB-0AC5-FF62-386DDB427E86}"/>
                </a:ext>
              </a:extLst>
            </p:cNvPr>
            <p:cNvSpPr/>
            <p:nvPr/>
          </p:nvSpPr>
          <p:spPr>
            <a:xfrm rot="-3268453">
              <a:off x="5292769" y="2501594"/>
              <a:ext cx="1680522" cy="168052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spcFirstLastPara="1" wrap="square" lIns="121900" tIns="60925" rIns="121900" bIns="609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73" name="Google Shape;344;g2c013cbed21_0_138">
              <a:extLst>
                <a:ext uri="{FF2B5EF4-FFF2-40B4-BE49-F238E27FC236}">
                  <a16:creationId xmlns:a16="http://schemas.microsoft.com/office/drawing/2014/main" id="{B28EEEC1-79C2-3D0F-EF3F-6454D96221B0}"/>
                </a:ext>
              </a:extLst>
            </p:cNvPr>
            <p:cNvGrpSpPr/>
            <p:nvPr/>
          </p:nvGrpSpPr>
          <p:grpSpPr>
            <a:xfrm>
              <a:off x="6471421" y="2088330"/>
              <a:ext cx="1915199" cy="4033334"/>
              <a:chOff x="4832778" y="1577308"/>
              <a:chExt cx="1501410" cy="3184127"/>
            </a:xfrm>
          </p:grpSpPr>
          <p:sp>
            <p:nvSpPr>
              <p:cNvPr id="125" name="Google Shape;345;g2c013cbed21_0_138">
                <a:extLst>
                  <a:ext uri="{FF2B5EF4-FFF2-40B4-BE49-F238E27FC236}">
                    <a16:creationId xmlns:a16="http://schemas.microsoft.com/office/drawing/2014/main" id="{39227857-81CD-8768-7414-60DCCFE075E3}"/>
                  </a:ext>
                </a:extLst>
              </p:cNvPr>
              <p:cNvSpPr/>
              <p:nvPr/>
            </p:nvSpPr>
            <p:spPr>
              <a:xfrm rot="-3280088">
                <a:off x="4136321" y="2563569"/>
                <a:ext cx="3184127" cy="1211606"/>
              </a:xfrm>
              <a:custGeom>
                <a:avLst/>
                <a:gdLst/>
                <a:ahLst/>
                <a:cxnLst/>
                <a:rect l="l" t="t" r="r" b="b"/>
                <a:pathLst>
                  <a:path w="492" h="187" extrusionOk="0">
                    <a:moveTo>
                      <a:pt x="457" y="0"/>
                    </a:moveTo>
                    <a:cubicBezTo>
                      <a:pt x="416" y="91"/>
                      <a:pt x="325" y="155"/>
                      <a:pt x="218" y="155"/>
                    </a:cubicBezTo>
                    <a:cubicBezTo>
                      <a:pt x="137" y="155"/>
                      <a:pt x="64" y="118"/>
                      <a:pt x="17" y="60"/>
                    </a:cubicBezTo>
                    <a:cubicBezTo>
                      <a:pt x="11" y="70"/>
                      <a:pt x="5" y="80"/>
                      <a:pt x="0" y="90"/>
                    </a:cubicBezTo>
                    <a:cubicBezTo>
                      <a:pt x="54" y="150"/>
                      <a:pt x="132" y="187"/>
                      <a:pt x="218" y="187"/>
                    </a:cubicBezTo>
                    <a:cubicBezTo>
                      <a:pt x="343" y="187"/>
                      <a:pt x="449" y="109"/>
                      <a:pt x="492" y="0"/>
                    </a:cubicBezTo>
                    <a:cubicBezTo>
                      <a:pt x="480" y="0"/>
                      <a:pt x="468" y="1"/>
                      <a:pt x="457" y="0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25" rIns="121900" bIns="60925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6" name="Google Shape;346;g2c013cbed21_0_138">
                <a:extLst>
                  <a:ext uri="{FF2B5EF4-FFF2-40B4-BE49-F238E27FC236}">
                    <a16:creationId xmlns:a16="http://schemas.microsoft.com/office/drawing/2014/main" id="{03DDB8D6-3D97-3467-9D5F-9FB5C4A52972}"/>
                  </a:ext>
                </a:extLst>
              </p:cNvPr>
              <p:cNvSpPr/>
              <p:nvPr/>
            </p:nvSpPr>
            <p:spPr>
              <a:xfrm rot="18319912">
                <a:off x="4070532" y="2448426"/>
                <a:ext cx="2729637" cy="1205146"/>
              </a:xfrm>
              <a:custGeom>
                <a:avLst/>
                <a:gdLst/>
                <a:ahLst/>
                <a:cxnLst/>
                <a:rect l="l" t="t" r="r" b="b"/>
                <a:pathLst>
                  <a:path w="440" h="194" extrusionOk="0">
                    <a:moveTo>
                      <a:pt x="262" y="39"/>
                    </a:moveTo>
                    <a:cubicBezTo>
                      <a:pt x="206" y="71"/>
                      <a:pt x="134" y="53"/>
                      <a:pt x="100" y="0"/>
                    </a:cubicBezTo>
                    <a:cubicBezTo>
                      <a:pt x="57" y="25"/>
                      <a:pt x="24" y="60"/>
                      <a:pt x="0" y="99"/>
                    </a:cubicBezTo>
                    <a:cubicBezTo>
                      <a:pt x="47" y="157"/>
                      <a:pt x="120" y="194"/>
                      <a:pt x="201" y="194"/>
                    </a:cubicBezTo>
                    <a:cubicBezTo>
                      <a:pt x="308" y="194"/>
                      <a:pt x="399" y="130"/>
                      <a:pt x="440" y="39"/>
                    </a:cubicBezTo>
                    <a:cubicBezTo>
                      <a:pt x="393" y="37"/>
                      <a:pt x="346" y="24"/>
                      <a:pt x="303" y="0"/>
                    </a:cubicBezTo>
                    <a:cubicBezTo>
                      <a:pt x="292" y="15"/>
                      <a:pt x="279" y="29"/>
                      <a:pt x="262" y="39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 cap="flat" cmpd="sng">
                <a:solidFill>
                  <a:srgbClr val="FFFFFF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25" rIns="121900" bIns="60925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7" name="Google Shape;347;g2c013cbed21_0_138">
                <a:extLst>
                  <a:ext uri="{FF2B5EF4-FFF2-40B4-BE49-F238E27FC236}">
                    <a16:creationId xmlns:a16="http://schemas.microsoft.com/office/drawing/2014/main" id="{BA01FF03-FF1C-EBF5-1338-9EA64DE80D18}"/>
                  </a:ext>
                </a:extLst>
              </p:cNvPr>
              <p:cNvSpPr txBox="1"/>
              <p:nvPr/>
            </p:nvSpPr>
            <p:spPr>
              <a:xfrm rot="17820794">
                <a:off x="4686561" y="2863707"/>
                <a:ext cx="1577952" cy="56337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700"/>
                  <a:buFont typeface="Arial"/>
                  <a:buNone/>
                  <a:tabLst/>
                  <a:defRPr/>
                </a:pPr>
                <a:r>
                  <a:rPr kumimoji="0" lang="en-US" sz="17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  <a:t>Enumerating</a:t>
                </a:r>
                <a:endParaRPr kumimoji="0" sz="13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</p:grpSp>
        <p:grpSp>
          <p:nvGrpSpPr>
            <p:cNvPr id="74" name="Google Shape;348;g2c013cbed21_0_138">
              <a:extLst>
                <a:ext uri="{FF2B5EF4-FFF2-40B4-BE49-F238E27FC236}">
                  <a16:creationId xmlns:a16="http://schemas.microsoft.com/office/drawing/2014/main" id="{6C278ECF-F890-D885-75B9-0B2EB0C5CD83}"/>
                </a:ext>
              </a:extLst>
            </p:cNvPr>
            <p:cNvGrpSpPr/>
            <p:nvPr/>
          </p:nvGrpSpPr>
          <p:grpSpPr>
            <a:xfrm>
              <a:off x="4467203" y="655229"/>
              <a:ext cx="3170987" cy="2772003"/>
              <a:chOff x="3261580" y="445943"/>
              <a:chExt cx="2485879" cy="2188366"/>
            </a:xfrm>
          </p:grpSpPr>
          <p:sp>
            <p:nvSpPr>
              <p:cNvPr id="120" name="Google Shape;349;g2c013cbed21_0_138">
                <a:extLst>
                  <a:ext uri="{FF2B5EF4-FFF2-40B4-BE49-F238E27FC236}">
                    <a16:creationId xmlns:a16="http://schemas.microsoft.com/office/drawing/2014/main" id="{88C0D93C-5649-9C66-142F-B4AB4081B343}"/>
                  </a:ext>
                </a:extLst>
              </p:cNvPr>
              <p:cNvSpPr/>
              <p:nvPr/>
            </p:nvSpPr>
            <p:spPr>
              <a:xfrm rot="-3280089">
                <a:off x="3410337" y="297186"/>
                <a:ext cx="2188366" cy="2485879"/>
              </a:xfrm>
              <a:custGeom>
                <a:avLst/>
                <a:gdLst/>
                <a:ahLst/>
                <a:cxnLst/>
                <a:rect l="l" t="t" r="r" b="b"/>
                <a:pathLst>
                  <a:path w="338" h="384" extrusionOk="0">
                    <a:moveTo>
                      <a:pt x="45" y="32"/>
                    </a:moveTo>
                    <a:cubicBezTo>
                      <a:pt x="189" y="32"/>
                      <a:pt x="306" y="148"/>
                      <a:pt x="306" y="292"/>
                    </a:cubicBezTo>
                    <a:cubicBezTo>
                      <a:pt x="306" y="325"/>
                      <a:pt x="300" y="355"/>
                      <a:pt x="289" y="384"/>
                    </a:cubicBezTo>
                    <a:cubicBezTo>
                      <a:pt x="301" y="384"/>
                      <a:pt x="312" y="384"/>
                      <a:pt x="324" y="383"/>
                    </a:cubicBezTo>
                    <a:cubicBezTo>
                      <a:pt x="333" y="354"/>
                      <a:pt x="338" y="324"/>
                      <a:pt x="338" y="292"/>
                    </a:cubicBezTo>
                    <a:cubicBezTo>
                      <a:pt x="338" y="131"/>
                      <a:pt x="207" y="0"/>
                      <a:pt x="45" y="0"/>
                    </a:cubicBezTo>
                    <a:cubicBezTo>
                      <a:pt x="30" y="0"/>
                      <a:pt x="15" y="1"/>
                      <a:pt x="0" y="3"/>
                    </a:cubicBezTo>
                    <a:cubicBezTo>
                      <a:pt x="6" y="13"/>
                      <a:pt x="12" y="23"/>
                      <a:pt x="18" y="33"/>
                    </a:cubicBezTo>
                    <a:cubicBezTo>
                      <a:pt x="27" y="32"/>
                      <a:pt x="36" y="32"/>
                      <a:pt x="45" y="32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25" rIns="121900" bIns="60925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2" name="Google Shape;350;g2c013cbed21_0_138">
                <a:extLst>
                  <a:ext uri="{FF2B5EF4-FFF2-40B4-BE49-F238E27FC236}">
                    <a16:creationId xmlns:a16="http://schemas.microsoft.com/office/drawing/2014/main" id="{6C6DB545-0F68-7588-673E-B18E0F47CB15}"/>
                  </a:ext>
                </a:extLst>
              </p:cNvPr>
              <p:cNvSpPr/>
              <p:nvPr/>
            </p:nvSpPr>
            <p:spPr>
              <a:xfrm rot="-3280088">
                <a:off x="3667674" y="581521"/>
                <a:ext cx="1790169" cy="2186080"/>
              </a:xfrm>
              <a:custGeom>
                <a:avLst/>
                <a:gdLst/>
                <a:ahLst/>
                <a:cxnLst/>
                <a:rect l="l" t="t" r="r" b="b"/>
                <a:pathLst>
                  <a:path w="288" h="352" extrusionOk="0">
                    <a:moveTo>
                      <a:pt x="27" y="0"/>
                    </a:moveTo>
                    <a:cubicBezTo>
                      <a:pt x="18" y="0"/>
                      <a:pt x="9" y="0"/>
                      <a:pt x="0" y="1"/>
                    </a:cubicBezTo>
                    <a:cubicBezTo>
                      <a:pt x="21" y="43"/>
                      <a:pt x="34" y="90"/>
                      <a:pt x="35" y="140"/>
                    </a:cubicBezTo>
                    <a:cubicBezTo>
                      <a:pt x="74" y="142"/>
                      <a:pt x="111" y="163"/>
                      <a:pt x="132" y="200"/>
                    </a:cubicBezTo>
                    <a:cubicBezTo>
                      <a:pt x="153" y="236"/>
                      <a:pt x="153" y="279"/>
                      <a:pt x="136" y="315"/>
                    </a:cubicBezTo>
                    <a:cubicBezTo>
                      <a:pt x="179" y="339"/>
                      <a:pt x="225" y="351"/>
                      <a:pt x="271" y="352"/>
                    </a:cubicBezTo>
                    <a:cubicBezTo>
                      <a:pt x="282" y="323"/>
                      <a:pt x="288" y="293"/>
                      <a:pt x="288" y="260"/>
                    </a:cubicBezTo>
                    <a:cubicBezTo>
                      <a:pt x="288" y="116"/>
                      <a:pt x="171" y="0"/>
                      <a:pt x="27" y="0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 cap="flat" cmpd="sng">
                <a:solidFill>
                  <a:srgbClr val="FFFFFF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25" rIns="121900" bIns="60925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24" name="Google Shape;351;g2c013cbed21_0_138">
                <a:extLst>
                  <a:ext uri="{FF2B5EF4-FFF2-40B4-BE49-F238E27FC236}">
                    <a16:creationId xmlns:a16="http://schemas.microsoft.com/office/drawing/2014/main" id="{D52834BA-9E88-009C-6E79-874EA0ADDC6B}"/>
                  </a:ext>
                </a:extLst>
              </p:cNvPr>
              <p:cNvSpPr txBox="1"/>
              <p:nvPr/>
            </p:nvSpPr>
            <p:spPr>
              <a:xfrm>
                <a:off x="3782825" y="1153125"/>
                <a:ext cx="1578000" cy="5631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700"/>
                  <a:buFont typeface="Arial"/>
                  <a:buNone/>
                  <a:tabLst/>
                  <a:defRPr/>
                </a:pPr>
                <a:r>
                  <a:rPr kumimoji="0" lang="en-US" sz="17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  <a:t>Identifying</a:t>
                </a:r>
                <a:endParaRPr kumimoji="0" sz="17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75" name="Google Shape;352;g2c013cbed21_0_138">
              <a:extLst>
                <a:ext uri="{FF2B5EF4-FFF2-40B4-BE49-F238E27FC236}">
                  <a16:creationId xmlns:a16="http://schemas.microsoft.com/office/drawing/2014/main" id="{1C25B111-252C-3A23-A649-8640C5E0168F}"/>
                </a:ext>
              </a:extLst>
            </p:cNvPr>
            <p:cNvGrpSpPr/>
            <p:nvPr/>
          </p:nvGrpSpPr>
          <p:grpSpPr>
            <a:xfrm>
              <a:off x="3048301" y="2974676"/>
              <a:ext cx="3885128" cy="2278617"/>
              <a:chOff x="2149241" y="2277037"/>
              <a:chExt cx="3045726" cy="1798861"/>
            </a:xfrm>
          </p:grpSpPr>
          <p:sp>
            <p:nvSpPr>
              <p:cNvPr id="109" name="Google Shape;353;g2c013cbed21_0_138">
                <a:extLst>
                  <a:ext uri="{FF2B5EF4-FFF2-40B4-BE49-F238E27FC236}">
                    <a16:creationId xmlns:a16="http://schemas.microsoft.com/office/drawing/2014/main" id="{ACF0A1A3-70B0-55CB-DD19-C218ECDFEC9D}"/>
                  </a:ext>
                </a:extLst>
              </p:cNvPr>
              <p:cNvSpPr/>
              <p:nvPr/>
            </p:nvSpPr>
            <p:spPr>
              <a:xfrm rot="-3280088">
                <a:off x="2859669" y="1740600"/>
                <a:ext cx="1624870" cy="3045726"/>
              </a:xfrm>
              <a:custGeom>
                <a:avLst/>
                <a:gdLst/>
                <a:ahLst/>
                <a:cxnLst/>
                <a:rect l="l" t="t" r="r" b="b"/>
                <a:pathLst>
                  <a:path w="251" h="470" extrusionOk="0">
                    <a:moveTo>
                      <a:pt x="32" y="286"/>
                    </a:moveTo>
                    <a:cubicBezTo>
                      <a:pt x="32" y="157"/>
                      <a:pt x="127" y="49"/>
                      <a:pt x="251" y="29"/>
                    </a:cubicBezTo>
                    <a:cubicBezTo>
                      <a:pt x="245" y="19"/>
                      <a:pt x="239" y="9"/>
                      <a:pt x="233" y="0"/>
                    </a:cubicBezTo>
                    <a:cubicBezTo>
                      <a:pt x="100" y="28"/>
                      <a:pt x="0" y="145"/>
                      <a:pt x="0" y="286"/>
                    </a:cubicBezTo>
                    <a:cubicBezTo>
                      <a:pt x="0" y="356"/>
                      <a:pt x="25" y="420"/>
                      <a:pt x="65" y="470"/>
                    </a:cubicBezTo>
                    <a:cubicBezTo>
                      <a:pt x="70" y="460"/>
                      <a:pt x="76" y="450"/>
                      <a:pt x="82" y="440"/>
                    </a:cubicBezTo>
                    <a:cubicBezTo>
                      <a:pt x="51" y="397"/>
                      <a:pt x="32" y="344"/>
                      <a:pt x="32" y="286"/>
                    </a:cubicBezTo>
                    <a:close/>
                  </a:path>
                </a:pathLst>
              </a:custGeom>
              <a:solidFill>
                <a:schemeClr val="tx2">
                  <a:lumMod val="20000"/>
                  <a:lumOff val="8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25" rIns="121900" bIns="60925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1" name="Google Shape;354;g2c013cbed21_0_138">
                <a:extLst>
                  <a:ext uri="{FF2B5EF4-FFF2-40B4-BE49-F238E27FC236}">
                    <a16:creationId xmlns:a16="http://schemas.microsoft.com/office/drawing/2014/main" id="{BBFFE7A2-B249-7F83-B49D-7C8C7E3467DB}"/>
                  </a:ext>
                </a:extLst>
              </p:cNvPr>
              <p:cNvSpPr/>
              <p:nvPr/>
            </p:nvSpPr>
            <p:spPr>
              <a:xfrm rot="-3280090">
                <a:off x="3037225" y="1789647"/>
                <a:ext cx="1575644" cy="2550423"/>
              </a:xfrm>
              <a:custGeom>
                <a:avLst/>
                <a:gdLst/>
                <a:ahLst/>
                <a:cxnLst/>
                <a:rect l="l" t="t" r="r" b="b"/>
                <a:pathLst>
                  <a:path w="254" h="411" extrusionOk="0">
                    <a:moveTo>
                      <a:pt x="152" y="311"/>
                    </a:moveTo>
                    <a:cubicBezTo>
                      <a:pt x="124" y="254"/>
                      <a:pt x="145" y="185"/>
                      <a:pt x="200" y="153"/>
                    </a:cubicBezTo>
                    <a:cubicBezTo>
                      <a:pt x="217" y="143"/>
                      <a:pt x="236" y="137"/>
                      <a:pt x="254" y="136"/>
                    </a:cubicBezTo>
                    <a:cubicBezTo>
                      <a:pt x="253" y="87"/>
                      <a:pt x="241" y="41"/>
                      <a:pt x="219" y="0"/>
                    </a:cubicBezTo>
                    <a:cubicBezTo>
                      <a:pt x="95" y="20"/>
                      <a:pt x="0" y="128"/>
                      <a:pt x="0" y="257"/>
                    </a:cubicBezTo>
                    <a:cubicBezTo>
                      <a:pt x="0" y="315"/>
                      <a:pt x="19" y="368"/>
                      <a:pt x="50" y="411"/>
                    </a:cubicBezTo>
                    <a:cubicBezTo>
                      <a:pt x="75" y="371"/>
                      <a:pt x="110" y="337"/>
                      <a:pt x="152" y="311"/>
                    </a:cubicBezTo>
                    <a:close/>
                  </a:path>
                </a:pathLst>
              </a:custGeom>
              <a:solidFill>
                <a:schemeClr val="tx2"/>
              </a:solidFill>
              <a:ln w="9525" cap="flat" cmpd="sng">
                <a:solidFill>
                  <a:srgbClr val="FFFFFF"/>
                </a:solidFill>
                <a:prstDash val="solid"/>
                <a:miter lim="8000"/>
                <a:headEnd type="none" w="sm" len="sm"/>
                <a:tailEnd type="none" w="sm" len="sm"/>
              </a:ln>
            </p:spPr>
            <p:txBody>
              <a:bodyPr spcFirstLastPara="1" wrap="square" lIns="121900" tIns="60925" rIns="121900" bIns="60925" anchor="t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12" name="Google Shape;355;g2c013cbed21_0_138">
                <a:extLst>
                  <a:ext uri="{FF2B5EF4-FFF2-40B4-BE49-F238E27FC236}">
                    <a16:creationId xmlns:a16="http://schemas.microsoft.com/office/drawing/2014/main" id="{09CE4FDB-8800-5E97-1DC5-D3EFF262C52C}"/>
                  </a:ext>
                </a:extLst>
              </p:cNvPr>
              <p:cNvSpPr txBox="1"/>
              <p:nvPr/>
            </p:nvSpPr>
            <p:spPr>
              <a:xfrm rot="3725110" flipH="1">
                <a:off x="2866219" y="2863840"/>
                <a:ext cx="1577671" cy="563243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700"/>
                  <a:buFont typeface="Arial"/>
                  <a:buNone/>
                  <a:tabLst/>
                  <a:defRPr/>
                </a:pPr>
                <a:r>
                  <a:rPr kumimoji="0" lang="en-US" sz="17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Arial"/>
                    <a:cs typeface="Arial"/>
                    <a:sym typeface="Arial"/>
                  </a:rPr>
                  <a:t>Vaccinating</a:t>
                </a:r>
                <a:endParaRPr kumimoji="0" sz="13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/>
                  <a:ea typeface="Roboto"/>
                  <a:cs typeface="Roboto"/>
                  <a:sym typeface="Roboto"/>
                </a:endParaRPr>
              </a:p>
            </p:txBody>
          </p:sp>
        </p:grpSp>
        <p:grpSp>
          <p:nvGrpSpPr>
            <p:cNvPr id="76" name="Google Shape;356;g2c013cbed21_0_138">
              <a:extLst>
                <a:ext uri="{FF2B5EF4-FFF2-40B4-BE49-F238E27FC236}">
                  <a16:creationId xmlns:a16="http://schemas.microsoft.com/office/drawing/2014/main" id="{F90F3F3E-BC59-56C7-DEF0-BD45381F2F88}"/>
                </a:ext>
              </a:extLst>
            </p:cNvPr>
            <p:cNvGrpSpPr/>
            <p:nvPr/>
          </p:nvGrpSpPr>
          <p:grpSpPr>
            <a:xfrm>
              <a:off x="5850686" y="2569586"/>
              <a:ext cx="575273" cy="492214"/>
              <a:chOff x="1905691" y="1536422"/>
              <a:chExt cx="646374" cy="646374"/>
            </a:xfrm>
          </p:grpSpPr>
          <p:sp>
            <p:nvSpPr>
              <p:cNvPr id="104" name="Google Shape;357;g2c013cbed21_0_138">
                <a:extLst>
                  <a:ext uri="{FF2B5EF4-FFF2-40B4-BE49-F238E27FC236}">
                    <a16:creationId xmlns:a16="http://schemas.microsoft.com/office/drawing/2014/main" id="{9B0C59CE-9046-24ED-F8BF-550DDC3C310B}"/>
                  </a:ext>
                </a:extLst>
              </p:cNvPr>
              <p:cNvSpPr/>
              <p:nvPr/>
            </p:nvSpPr>
            <p:spPr>
              <a:xfrm>
                <a:off x="1958278" y="1587430"/>
                <a:ext cx="541200" cy="541200"/>
              </a:xfrm>
              <a:prstGeom prst="ellipse">
                <a:avLst/>
              </a:prstGeom>
              <a:solidFill>
                <a:srgbClr val="FFFFFF"/>
              </a:solidFill>
              <a:ln w="9525" cap="flat" cmpd="sng">
                <a:solidFill>
                  <a:srgbClr val="451F6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900"/>
                  <a:buFont typeface="Arial"/>
                  <a:buNone/>
                  <a:tabLst/>
                  <a:defRPr/>
                </a:pPr>
                <a:endParaRPr kumimoji="0" sz="19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108" name="Google Shape;358;g2c013cbed21_0_138">
                <a:extLst>
                  <a:ext uri="{FF2B5EF4-FFF2-40B4-BE49-F238E27FC236}">
                    <a16:creationId xmlns:a16="http://schemas.microsoft.com/office/drawing/2014/main" id="{0277106C-B9BE-197B-33F0-D8666DB9C156}"/>
                  </a:ext>
                </a:extLst>
              </p:cNvPr>
              <p:cNvPicPr preferRelativeResize="0"/>
              <p:nvPr/>
            </p:nvPicPr>
            <p:blipFill rotWithShape="1">
              <a:blip r:embed="rId73">
                <a:alphaModFix/>
              </a:blip>
              <a:srcRect/>
              <a:stretch/>
            </p:blipFill>
            <p:spPr>
              <a:xfrm>
                <a:off x="1905691" y="1536422"/>
                <a:ext cx="646374" cy="646374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grpSp>
          <p:nvGrpSpPr>
            <p:cNvPr id="78" name="Google Shape;359;g2c013cbed21_0_138">
              <a:extLst>
                <a:ext uri="{FF2B5EF4-FFF2-40B4-BE49-F238E27FC236}">
                  <a16:creationId xmlns:a16="http://schemas.microsoft.com/office/drawing/2014/main" id="{6C5AB746-B34F-285B-4C8E-3A3187783091}"/>
                </a:ext>
              </a:extLst>
            </p:cNvPr>
            <p:cNvGrpSpPr/>
            <p:nvPr/>
          </p:nvGrpSpPr>
          <p:grpSpPr>
            <a:xfrm rot="-4140876">
              <a:off x="6300759" y="3333184"/>
              <a:ext cx="509317" cy="495197"/>
              <a:chOff x="-1182750" y="3962900"/>
              <a:chExt cx="294575" cy="291450"/>
            </a:xfrm>
          </p:grpSpPr>
          <p:sp>
            <p:nvSpPr>
              <p:cNvPr id="80" name="Google Shape;360;g2c013cbed21_0_138">
                <a:extLst>
                  <a:ext uri="{FF2B5EF4-FFF2-40B4-BE49-F238E27FC236}">
                    <a16:creationId xmlns:a16="http://schemas.microsoft.com/office/drawing/2014/main" id="{FDC7EFB2-AB26-0746-516C-B539B0DB6487}"/>
                  </a:ext>
                </a:extLst>
              </p:cNvPr>
              <p:cNvSpPr/>
              <p:nvPr/>
            </p:nvSpPr>
            <p:spPr>
              <a:xfrm>
                <a:off x="-1078000" y="4030650"/>
                <a:ext cx="17350" cy="17350"/>
              </a:xfrm>
              <a:custGeom>
                <a:avLst/>
                <a:gdLst/>
                <a:ahLst/>
                <a:cxnLst/>
                <a:rect l="l" t="t" r="r" b="b"/>
                <a:pathLst>
                  <a:path w="694" h="694" extrusionOk="0">
                    <a:moveTo>
                      <a:pt x="347" y="0"/>
                    </a:moveTo>
                    <a:cubicBezTo>
                      <a:pt x="158" y="0"/>
                      <a:pt x="0" y="158"/>
                      <a:pt x="0" y="347"/>
                    </a:cubicBezTo>
                    <a:cubicBezTo>
                      <a:pt x="0" y="536"/>
                      <a:pt x="158" y="694"/>
                      <a:pt x="347" y="694"/>
                    </a:cubicBezTo>
                    <a:cubicBezTo>
                      <a:pt x="536" y="694"/>
                      <a:pt x="693" y="536"/>
                      <a:pt x="693" y="347"/>
                    </a:cubicBezTo>
                    <a:cubicBezTo>
                      <a:pt x="693" y="158"/>
                      <a:pt x="536" y="0"/>
                      <a:pt x="347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1" name="Google Shape;361;g2c013cbed21_0_138">
                <a:extLst>
                  <a:ext uri="{FF2B5EF4-FFF2-40B4-BE49-F238E27FC236}">
                    <a16:creationId xmlns:a16="http://schemas.microsoft.com/office/drawing/2014/main" id="{565B572A-186A-D78F-C94A-7D2691A11E47}"/>
                  </a:ext>
                </a:extLst>
              </p:cNvPr>
              <p:cNvSpPr/>
              <p:nvPr/>
            </p:nvSpPr>
            <p:spPr>
              <a:xfrm>
                <a:off x="-1129200" y="4099950"/>
                <a:ext cx="17350" cy="17350"/>
              </a:xfrm>
              <a:custGeom>
                <a:avLst/>
                <a:gdLst/>
                <a:ahLst/>
                <a:cxnLst/>
                <a:rect l="l" t="t" r="r" b="b"/>
                <a:pathLst>
                  <a:path w="694" h="694" extrusionOk="0">
                    <a:moveTo>
                      <a:pt x="347" y="1"/>
                    </a:moveTo>
                    <a:cubicBezTo>
                      <a:pt x="158" y="1"/>
                      <a:pt x="0" y="158"/>
                      <a:pt x="0" y="347"/>
                    </a:cubicBezTo>
                    <a:cubicBezTo>
                      <a:pt x="0" y="536"/>
                      <a:pt x="158" y="694"/>
                      <a:pt x="347" y="694"/>
                    </a:cubicBezTo>
                    <a:cubicBezTo>
                      <a:pt x="536" y="694"/>
                      <a:pt x="693" y="536"/>
                      <a:pt x="693" y="347"/>
                    </a:cubicBezTo>
                    <a:cubicBezTo>
                      <a:pt x="693" y="158"/>
                      <a:pt x="536" y="1"/>
                      <a:pt x="347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82" name="Google Shape;362;g2c013cbed21_0_138">
                <a:extLst>
                  <a:ext uri="{FF2B5EF4-FFF2-40B4-BE49-F238E27FC236}">
                    <a16:creationId xmlns:a16="http://schemas.microsoft.com/office/drawing/2014/main" id="{7E0DAFD9-186E-A043-3628-BE946C01E960}"/>
                  </a:ext>
                </a:extLst>
              </p:cNvPr>
              <p:cNvSpPr/>
              <p:nvPr/>
            </p:nvSpPr>
            <p:spPr>
              <a:xfrm>
                <a:off x="-1009475" y="4081850"/>
                <a:ext cx="18125" cy="17350"/>
              </a:xfrm>
              <a:custGeom>
                <a:avLst/>
                <a:gdLst/>
                <a:ahLst/>
                <a:cxnLst/>
                <a:rect l="l" t="t" r="r" b="b"/>
                <a:pathLst>
                  <a:path w="725" h="694" extrusionOk="0">
                    <a:moveTo>
                      <a:pt x="347" y="0"/>
                    </a:moveTo>
                    <a:cubicBezTo>
                      <a:pt x="158" y="0"/>
                      <a:pt x="0" y="158"/>
                      <a:pt x="0" y="347"/>
                    </a:cubicBezTo>
                    <a:cubicBezTo>
                      <a:pt x="0" y="536"/>
                      <a:pt x="158" y="693"/>
                      <a:pt x="347" y="693"/>
                    </a:cubicBezTo>
                    <a:cubicBezTo>
                      <a:pt x="567" y="693"/>
                      <a:pt x="725" y="536"/>
                      <a:pt x="725" y="347"/>
                    </a:cubicBezTo>
                    <a:cubicBezTo>
                      <a:pt x="725" y="158"/>
                      <a:pt x="567" y="0"/>
                      <a:pt x="347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6" name="Google Shape;363;g2c013cbed21_0_138">
                <a:extLst>
                  <a:ext uri="{FF2B5EF4-FFF2-40B4-BE49-F238E27FC236}">
                    <a16:creationId xmlns:a16="http://schemas.microsoft.com/office/drawing/2014/main" id="{C711B968-3FCB-6B6A-23CB-9F4E8F96236D}"/>
                  </a:ext>
                </a:extLst>
              </p:cNvPr>
              <p:cNvSpPr/>
              <p:nvPr/>
            </p:nvSpPr>
            <p:spPr>
              <a:xfrm>
                <a:off x="-1182750" y="4168475"/>
                <a:ext cx="292225" cy="34675"/>
              </a:xfrm>
              <a:custGeom>
                <a:avLst/>
                <a:gdLst/>
                <a:ahLst/>
                <a:cxnLst/>
                <a:rect l="l" t="t" r="r" b="b"/>
                <a:pathLst>
                  <a:path w="11689" h="1387" extrusionOk="0">
                    <a:moveTo>
                      <a:pt x="0" y="1"/>
                    </a:moveTo>
                    <a:lnTo>
                      <a:pt x="0" y="347"/>
                    </a:lnTo>
                    <a:lnTo>
                      <a:pt x="63" y="347"/>
                    </a:lnTo>
                    <a:cubicBezTo>
                      <a:pt x="63" y="914"/>
                      <a:pt x="504" y="1387"/>
                      <a:pt x="1071" y="1387"/>
                    </a:cubicBezTo>
                    <a:lnTo>
                      <a:pt x="10680" y="1387"/>
                    </a:lnTo>
                    <a:cubicBezTo>
                      <a:pt x="11247" y="1387"/>
                      <a:pt x="11688" y="914"/>
                      <a:pt x="11688" y="347"/>
                    </a:cubicBezTo>
                    <a:lnTo>
                      <a:pt x="11688" y="1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7" name="Google Shape;364;g2c013cbed21_0_138">
                <a:extLst>
                  <a:ext uri="{FF2B5EF4-FFF2-40B4-BE49-F238E27FC236}">
                    <a16:creationId xmlns:a16="http://schemas.microsoft.com/office/drawing/2014/main" id="{AFAACEA4-15E0-36AE-7F8D-CEC825C124E0}"/>
                  </a:ext>
                </a:extLst>
              </p:cNvPr>
              <p:cNvSpPr/>
              <p:nvPr/>
            </p:nvSpPr>
            <p:spPr>
              <a:xfrm>
                <a:off x="-1117400" y="4220475"/>
                <a:ext cx="161500" cy="33875"/>
              </a:xfrm>
              <a:custGeom>
                <a:avLst/>
                <a:gdLst/>
                <a:ahLst/>
                <a:cxnLst/>
                <a:rect l="l" t="t" r="r" b="b"/>
                <a:pathLst>
                  <a:path w="6460" h="1355" extrusionOk="0">
                    <a:moveTo>
                      <a:pt x="1513" y="0"/>
                    </a:moveTo>
                    <a:lnTo>
                      <a:pt x="1356" y="693"/>
                    </a:lnTo>
                    <a:lnTo>
                      <a:pt x="474" y="693"/>
                    </a:lnTo>
                    <a:cubicBezTo>
                      <a:pt x="32" y="693"/>
                      <a:pt x="1" y="1355"/>
                      <a:pt x="474" y="1355"/>
                    </a:cubicBezTo>
                    <a:lnTo>
                      <a:pt x="5924" y="1355"/>
                    </a:lnTo>
                    <a:cubicBezTo>
                      <a:pt x="6459" y="1355"/>
                      <a:pt x="6459" y="693"/>
                      <a:pt x="5987" y="693"/>
                    </a:cubicBezTo>
                    <a:lnTo>
                      <a:pt x="5073" y="693"/>
                    </a:lnTo>
                    <a:lnTo>
                      <a:pt x="4916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1" name="Google Shape;365;g2c013cbed21_0_138">
                <a:extLst>
                  <a:ext uri="{FF2B5EF4-FFF2-40B4-BE49-F238E27FC236}">
                    <a16:creationId xmlns:a16="http://schemas.microsoft.com/office/drawing/2014/main" id="{EE0E8D95-4677-156A-3BD8-8BDE038C47FD}"/>
                  </a:ext>
                </a:extLst>
              </p:cNvPr>
              <p:cNvSpPr/>
              <p:nvPr/>
            </p:nvSpPr>
            <p:spPr>
              <a:xfrm>
                <a:off x="-958300" y="4014100"/>
                <a:ext cx="18150" cy="17350"/>
              </a:xfrm>
              <a:custGeom>
                <a:avLst/>
                <a:gdLst/>
                <a:ahLst/>
                <a:cxnLst/>
                <a:rect l="l" t="t" r="r" b="b"/>
                <a:pathLst>
                  <a:path w="726" h="694" extrusionOk="0">
                    <a:moveTo>
                      <a:pt x="348" y="1"/>
                    </a:moveTo>
                    <a:cubicBezTo>
                      <a:pt x="158" y="1"/>
                      <a:pt x="1" y="158"/>
                      <a:pt x="1" y="347"/>
                    </a:cubicBezTo>
                    <a:cubicBezTo>
                      <a:pt x="1" y="536"/>
                      <a:pt x="158" y="694"/>
                      <a:pt x="348" y="694"/>
                    </a:cubicBezTo>
                    <a:cubicBezTo>
                      <a:pt x="568" y="694"/>
                      <a:pt x="726" y="536"/>
                      <a:pt x="726" y="347"/>
                    </a:cubicBezTo>
                    <a:cubicBezTo>
                      <a:pt x="726" y="158"/>
                      <a:pt x="568" y="1"/>
                      <a:pt x="348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102" name="Google Shape;366;g2c013cbed21_0_138">
                <a:extLst>
                  <a:ext uri="{FF2B5EF4-FFF2-40B4-BE49-F238E27FC236}">
                    <a16:creationId xmlns:a16="http://schemas.microsoft.com/office/drawing/2014/main" id="{4E17AAA7-B80D-B239-FCD0-7E08FD47E27D}"/>
                  </a:ext>
                </a:extLst>
              </p:cNvPr>
              <p:cNvSpPr/>
              <p:nvPr/>
            </p:nvSpPr>
            <p:spPr>
              <a:xfrm>
                <a:off x="-1180400" y="3962900"/>
                <a:ext cx="292225" cy="188275"/>
              </a:xfrm>
              <a:custGeom>
                <a:avLst/>
                <a:gdLst/>
                <a:ahLst/>
                <a:cxnLst/>
                <a:rect l="l" t="t" r="r" b="b"/>
                <a:pathLst>
                  <a:path w="11689" h="7531" extrusionOk="0">
                    <a:moveTo>
                      <a:pt x="9232" y="1324"/>
                    </a:moveTo>
                    <a:cubicBezTo>
                      <a:pt x="9799" y="1324"/>
                      <a:pt x="10271" y="1797"/>
                      <a:pt x="10271" y="2364"/>
                    </a:cubicBezTo>
                    <a:cubicBezTo>
                      <a:pt x="10271" y="2922"/>
                      <a:pt x="9822" y="3391"/>
                      <a:pt x="9247" y="3391"/>
                    </a:cubicBezTo>
                    <a:cubicBezTo>
                      <a:pt x="9140" y="3391"/>
                      <a:pt x="9029" y="3375"/>
                      <a:pt x="8916" y="3341"/>
                    </a:cubicBezTo>
                    <a:lnTo>
                      <a:pt x="8034" y="4538"/>
                    </a:lnTo>
                    <a:cubicBezTo>
                      <a:pt x="8507" y="5199"/>
                      <a:pt x="7971" y="6144"/>
                      <a:pt x="7152" y="6144"/>
                    </a:cubicBezTo>
                    <a:cubicBezTo>
                      <a:pt x="6491" y="6144"/>
                      <a:pt x="5987" y="5514"/>
                      <a:pt x="6176" y="4790"/>
                    </a:cubicBezTo>
                    <a:lnTo>
                      <a:pt x="4978" y="3908"/>
                    </a:lnTo>
                    <a:cubicBezTo>
                      <a:pt x="4839" y="4007"/>
                      <a:pt x="4661" y="4069"/>
                      <a:pt x="4470" y="4069"/>
                    </a:cubicBezTo>
                    <a:cubicBezTo>
                      <a:pt x="4359" y="4069"/>
                      <a:pt x="4243" y="4048"/>
                      <a:pt x="4128" y="4002"/>
                    </a:cubicBezTo>
                    <a:lnTo>
                      <a:pt x="3214" y="5199"/>
                    </a:lnTo>
                    <a:cubicBezTo>
                      <a:pt x="3340" y="5357"/>
                      <a:pt x="3372" y="5546"/>
                      <a:pt x="3372" y="5735"/>
                    </a:cubicBezTo>
                    <a:cubicBezTo>
                      <a:pt x="3372" y="6302"/>
                      <a:pt x="2899" y="6775"/>
                      <a:pt x="2363" y="6775"/>
                    </a:cubicBezTo>
                    <a:cubicBezTo>
                      <a:pt x="1796" y="6775"/>
                      <a:pt x="1324" y="6302"/>
                      <a:pt x="1324" y="5735"/>
                    </a:cubicBezTo>
                    <a:cubicBezTo>
                      <a:pt x="1324" y="5199"/>
                      <a:pt x="1796" y="4727"/>
                      <a:pt x="2363" y="4727"/>
                    </a:cubicBezTo>
                    <a:cubicBezTo>
                      <a:pt x="2489" y="4727"/>
                      <a:pt x="2552" y="4758"/>
                      <a:pt x="2678" y="4758"/>
                    </a:cubicBezTo>
                    <a:lnTo>
                      <a:pt x="3592" y="3593"/>
                    </a:lnTo>
                    <a:cubicBezTo>
                      <a:pt x="3120" y="2899"/>
                      <a:pt x="3624" y="1954"/>
                      <a:pt x="4443" y="1954"/>
                    </a:cubicBezTo>
                    <a:cubicBezTo>
                      <a:pt x="5104" y="1954"/>
                      <a:pt x="5640" y="2584"/>
                      <a:pt x="5419" y="3309"/>
                    </a:cubicBezTo>
                    <a:lnTo>
                      <a:pt x="6617" y="4223"/>
                    </a:lnTo>
                    <a:cubicBezTo>
                      <a:pt x="6766" y="4116"/>
                      <a:pt x="6959" y="4038"/>
                      <a:pt x="7165" y="4038"/>
                    </a:cubicBezTo>
                    <a:cubicBezTo>
                      <a:pt x="7264" y="4038"/>
                      <a:pt x="7365" y="4056"/>
                      <a:pt x="7467" y="4097"/>
                    </a:cubicBezTo>
                    <a:lnTo>
                      <a:pt x="8381" y="2899"/>
                    </a:lnTo>
                    <a:cubicBezTo>
                      <a:pt x="8255" y="2742"/>
                      <a:pt x="8223" y="2553"/>
                      <a:pt x="8223" y="2364"/>
                    </a:cubicBezTo>
                    <a:cubicBezTo>
                      <a:pt x="8223" y="1797"/>
                      <a:pt x="8696" y="1324"/>
                      <a:pt x="9232" y="1324"/>
                    </a:cubicBezTo>
                    <a:close/>
                    <a:moveTo>
                      <a:pt x="1009" y="1"/>
                    </a:moveTo>
                    <a:cubicBezTo>
                      <a:pt x="473" y="1"/>
                      <a:pt x="1" y="474"/>
                      <a:pt x="1" y="1009"/>
                    </a:cubicBezTo>
                    <a:lnTo>
                      <a:pt x="1" y="7531"/>
                    </a:lnTo>
                    <a:lnTo>
                      <a:pt x="11689" y="7531"/>
                    </a:lnTo>
                    <a:lnTo>
                      <a:pt x="11689" y="1009"/>
                    </a:lnTo>
                    <a:cubicBezTo>
                      <a:pt x="11657" y="411"/>
                      <a:pt x="11185" y="1"/>
                      <a:pt x="10618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121900" tIns="121900" rIns="121900" bIns="121900" anchor="ctr" anchorCtr="0"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400"/>
                  <a:buFont typeface="Arial"/>
                  <a:buNone/>
                  <a:tabLst/>
                  <a:defRPr/>
                </a:pPr>
                <a:endParaRPr kumimoji="0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79" name="Google Shape;367;g2c013cbed21_0_138">
              <a:extLst>
                <a:ext uri="{FF2B5EF4-FFF2-40B4-BE49-F238E27FC236}">
                  <a16:creationId xmlns:a16="http://schemas.microsoft.com/office/drawing/2014/main" id="{90DCAA02-40C2-67A4-7D5C-143017229BCC}"/>
                </a:ext>
              </a:extLst>
            </p:cNvPr>
            <p:cNvSpPr/>
            <p:nvPr/>
          </p:nvSpPr>
          <p:spPr>
            <a:xfrm>
              <a:off x="5483228" y="3255554"/>
              <a:ext cx="430928" cy="492237"/>
            </a:xfrm>
            <a:custGeom>
              <a:avLst/>
              <a:gdLst/>
              <a:ahLst/>
              <a:cxnLst/>
              <a:rect l="l" t="t" r="r" b="b"/>
              <a:pathLst>
                <a:path w="11846" h="11776" extrusionOk="0">
                  <a:moveTo>
                    <a:pt x="9074" y="2261"/>
                  </a:moveTo>
                  <a:lnTo>
                    <a:pt x="9546" y="2733"/>
                  </a:lnTo>
                  <a:lnTo>
                    <a:pt x="9011" y="3300"/>
                  </a:lnTo>
                  <a:lnTo>
                    <a:pt x="8538" y="2828"/>
                  </a:lnTo>
                  <a:lnTo>
                    <a:pt x="9074" y="2261"/>
                  </a:lnTo>
                  <a:close/>
                  <a:moveTo>
                    <a:pt x="6333" y="3489"/>
                  </a:moveTo>
                  <a:lnTo>
                    <a:pt x="8286" y="5474"/>
                  </a:lnTo>
                  <a:lnTo>
                    <a:pt x="7782" y="5978"/>
                  </a:lnTo>
                  <a:lnTo>
                    <a:pt x="7026" y="5222"/>
                  </a:lnTo>
                  <a:cubicBezTo>
                    <a:pt x="6963" y="5159"/>
                    <a:pt x="6876" y="5128"/>
                    <a:pt x="6789" y="5128"/>
                  </a:cubicBezTo>
                  <a:cubicBezTo>
                    <a:pt x="6703" y="5128"/>
                    <a:pt x="6616" y="5159"/>
                    <a:pt x="6553" y="5222"/>
                  </a:cubicBezTo>
                  <a:cubicBezTo>
                    <a:pt x="6427" y="5348"/>
                    <a:pt x="6427" y="5569"/>
                    <a:pt x="6553" y="5695"/>
                  </a:cubicBezTo>
                  <a:lnTo>
                    <a:pt x="7309" y="6451"/>
                  </a:lnTo>
                  <a:lnTo>
                    <a:pt x="6837" y="6924"/>
                  </a:lnTo>
                  <a:lnTo>
                    <a:pt x="4883" y="4939"/>
                  </a:lnTo>
                  <a:lnTo>
                    <a:pt x="6333" y="3489"/>
                  </a:lnTo>
                  <a:close/>
                  <a:moveTo>
                    <a:pt x="2647" y="8688"/>
                  </a:moveTo>
                  <a:lnTo>
                    <a:pt x="3119" y="9160"/>
                  </a:lnTo>
                  <a:lnTo>
                    <a:pt x="2899" y="9412"/>
                  </a:lnTo>
                  <a:cubicBezTo>
                    <a:pt x="2836" y="9460"/>
                    <a:pt x="2749" y="9483"/>
                    <a:pt x="2662" y="9483"/>
                  </a:cubicBezTo>
                  <a:cubicBezTo>
                    <a:pt x="2576" y="9483"/>
                    <a:pt x="2489" y="9460"/>
                    <a:pt x="2426" y="9412"/>
                  </a:cubicBezTo>
                  <a:cubicBezTo>
                    <a:pt x="2300" y="9286"/>
                    <a:pt x="2300" y="9034"/>
                    <a:pt x="2426" y="8940"/>
                  </a:cubicBezTo>
                  <a:lnTo>
                    <a:pt x="2647" y="8688"/>
                  </a:lnTo>
                  <a:close/>
                  <a:moveTo>
                    <a:pt x="9294" y="0"/>
                  </a:moveTo>
                  <a:cubicBezTo>
                    <a:pt x="9026" y="0"/>
                    <a:pt x="8758" y="103"/>
                    <a:pt x="8569" y="308"/>
                  </a:cubicBezTo>
                  <a:cubicBezTo>
                    <a:pt x="8160" y="686"/>
                    <a:pt x="8097" y="1410"/>
                    <a:pt x="8538" y="1820"/>
                  </a:cubicBezTo>
                  <a:lnTo>
                    <a:pt x="8065" y="2292"/>
                  </a:lnTo>
                  <a:lnTo>
                    <a:pt x="7089" y="1316"/>
                  </a:lnTo>
                  <a:cubicBezTo>
                    <a:pt x="6884" y="1127"/>
                    <a:pt x="6616" y="1032"/>
                    <a:pt x="6348" y="1032"/>
                  </a:cubicBezTo>
                  <a:cubicBezTo>
                    <a:pt x="6081" y="1032"/>
                    <a:pt x="5813" y="1127"/>
                    <a:pt x="5608" y="1316"/>
                  </a:cubicBezTo>
                  <a:cubicBezTo>
                    <a:pt x="5230" y="1725"/>
                    <a:pt x="5230" y="2387"/>
                    <a:pt x="5608" y="2765"/>
                  </a:cubicBezTo>
                  <a:lnTo>
                    <a:pt x="5860" y="3017"/>
                  </a:lnTo>
                  <a:lnTo>
                    <a:pt x="2678" y="6199"/>
                  </a:lnTo>
                  <a:cubicBezTo>
                    <a:pt x="2142" y="6734"/>
                    <a:pt x="2048" y="7428"/>
                    <a:pt x="2268" y="8058"/>
                  </a:cubicBezTo>
                  <a:lnTo>
                    <a:pt x="1922" y="8404"/>
                  </a:lnTo>
                  <a:cubicBezTo>
                    <a:pt x="1607" y="8719"/>
                    <a:pt x="1512" y="9192"/>
                    <a:pt x="1733" y="9601"/>
                  </a:cubicBezTo>
                  <a:lnTo>
                    <a:pt x="95" y="11208"/>
                  </a:lnTo>
                  <a:cubicBezTo>
                    <a:pt x="0" y="11334"/>
                    <a:pt x="0" y="11555"/>
                    <a:pt x="95" y="11681"/>
                  </a:cubicBezTo>
                  <a:cubicBezTo>
                    <a:pt x="158" y="11744"/>
                    <a:pt x="252" y="11775"/>
                    <a:pt x="343" y="11775"/>
                  </a:cubicBezTo>
                  <a:cubicBezTo>
                    <a:pt x="433" y="11775"/>
                    <a:pt x="520" y="11744"/>
                    <a:pt x="567" y="11681"/>
                  </a:cubicBezTo>
                  <a:lnTo>
                    <a:pt x="2174" y="10074"/>
                  </a:lnTo>
                  <a:cubicBezTo>
                    <a:pt x="2318" y="10136"/>
                    <a:pt x="2465" y="10164"/>
                    <a:pt x="2609" y="10164"/>
                  </a:cubicBezTo>
                  <a:cubicBezTo>
                    <a:pt x="2904" y="10164"/>
                    <a:pt x="3180" y="10044"/>
                    <a:pt x="3371" y="9853"/>
                  </a:cubicBezTo>
                  <a:lnTo>
                    <a:pt x="3718" y="9507"/>
                  </a:lnTo>
                  <a:cubicBezTo>
                    <a:pt x="3930" y="9598"/>
                    <a:pt x="4148" y="9640"/>
                    <a:pt x="4363" y="9640"/>
                  </a:cubicBezTo>
                  <a:cubicBezTo>
                    <a:pt x="4818" y="9640"/>
                    <a:pt x="5255" y="9450"/>
                    <a:pt x="5576" y="9129"/>
                  </a:cubicBezTo>
                  <a:lnTo>
                    <a:pt x="5797" y="8877"/>
                  </a:lnTo>
                  <a:lnTo>
                    <a:pt x="4820" y="7900"/>
                  </a:lnTo>
                  <a:cubicBezTo>
                    <a:pt x="4694" y="7774"/>
                    <a:pt x="4694" y="7554"/>
                    <a:pt x="4820" y="7428"/>
                  </a:cubicBezTo>
                  <a:cubicBezTo>
                    <a:pt x="4883" y="7365"/>
                    <a:pt x="4970" y="7333"/>
                    <a:pt x="5057" y="7333"/>
                  </a:cubicBezTo>
                  <a:cubicBezTo>
                    <a:pt x="5143" y="7333"/>
                    <a:pt x="5230" y="7365"/>
                    <a:pt x="5293" y="7428"/>
                  </a:cubicBezTo>
                  <a:lnTo>
                    <a:pt x="6270" y="8404"/>
                  </a:lnTo>
                  <a:lnTo>
                    <a:pt x="8727" y="5978"/>
                  </a:lnTo>
                  <a:lnTo>
                    <a:pt x="8948" y="6199"/>
                  </a:lnTo>
                  <a:cubicBezTo>
                    <a:pt x="9152" y="6404"/>
                    <a:pt x="9420" y="6506"/>
                    <a:pt x="9688" y="6506"/>
                  </a:cubicBezTo>
                  <a:cubicBezTo>
                    <a:pt x="9956" y="6506"/>
                    <a:pt x="10223" y="6404"/>
                    <a:pt x="10428" y="6199"/>
                  </a:cubicBezTo>
                  <a:cubicBezTo>
                    <a:pt x="10806" y="5821"/>
                    <a:pt x="10806" y="5159"/>
                    <a:pt x="10428" y="4750"/>
                  </a:cubicBezTo>
                  <a:lnTo>
                    <a:pt x="9420" y="3773"/>
                  </a:lnTo>
                  <a:lnTo>
                    <a:pt x="9987" y="3206"/>
                  </a:lnTo>
                  <a:cubicBezTo>
                    <a:pt x="10176" y="3411"/>
                    <a:pt x="10444" y="3513"/>
                    <a:pt x="10712" y="3513"/>
                  </a:cubicBezTo>
                  <a:cubicBezTo>
                    <a:pt x="10980" y="3513"/>
                    <a:pt x="11247" y="3411"/>
                    <a:pt x="11436" y="3206"/>
                  </a:cubicBezTo>
                  <a:cubicBezTo>
                    <a:pt x="11846" y="2828"/>
                    <a:pt x="11846" y="2166"/>
                    <a:pt x="11436" y="1757"/>
                  </a:cubicBezTo>
                  <a:lnTo>
                    <a:pt x="10019" y="308"/>
                  </a:lnTo>
                  <a:cubicBezTo>
                    <a:pt x="9830" y="103"/>
                    <a:pt x="9562" y="0"/>
                    <a:pt x="9294" y="0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900"/>
                <a:buFont typeface="Arial"/>
                <a:buNone/>
                <a:tabLst/>
                <a:defRPr/>
              </a:pPr>
              <a:endParaRPr kumimoji="0" sz="1900" b="0" i="0" u="none" strike="noStrike" kern="1200" cap="none" spc="0" normalizeH="0" baseline="0" noProof="0">
                <a:ln>
                  <a:noFill/>
                </a:ln>
                <a:solidFill>
                  <a:srgbClr val="451F6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23587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Y_KuKD6RlVY1bvvcSB8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G4pmzxiPXcuojVI7UU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W2hazGULZqUuYPdrU3W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oIZq7ILbbW_FbFFb92x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LE2pKxxtoP2sv4k1_Z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.Mi_wIzPEAakG5rWDUd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wEs2Ak_3AaUYEnBb6oU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_rokd3A05Dponk.Lppe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oXBYQOGClNl8Geeb_Vr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eb2BYEe7ZsJnaptB9d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EeXyGiE.ILFJ8Br9Mif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Yme60i3qumvnLgiF1G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mrOz_OHDClt3IsL0Do9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IQXntntyWj.pUMvQom0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HSdPxk2e3SjcFkdZWjy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pQ.EHzafRsWgFNl5Br1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FBLqaTYv5HYY26ypHU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lKJelad7k3rzCucmJiZ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2WRDsSspQNLUWby4ph6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siEjbwPIS0xO2TDEEN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Fvnxz4oz1L0Vr_D4Ztc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Q4VE9T7xnzEPsdA34Td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w6HYTP7c97InI51.PVY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zGa4OTszlnRb2uw_GlV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E4nJHk.2D2VKZwOcKAc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LgCdtJ0qS2cm3oNl.z9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FIEU7i5FcrVFZDgUstF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A9bKGF3d.vNENIBzwJj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LbelOhBlFy1oRvauaM5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bdFpDMotIRRQeS8TIx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D0.Tz6qhngyCN2YXxlY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QyoQqB4naRSw.8DhoYa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8dFX6y11wVTCPPYTsuq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m.gF90pU.GOOWI29Ort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CWwBCRfo63REEmKP1Ka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KhhCnoPXjEN6RtQ8NQn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rzNCo11mss4B4b_Wo4s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btIEAnfbE9QXxS1aWAw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C0hKnLyxWTqzN3JQnU3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nFUQCZYT4hQPho.en1Y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L_h4vF4uF17yAqR9bT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cnpheE9cTuxL2w5n2ws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7geZvtOj3_Z_uRVBjkq1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Z5IsuE37lI.8nHQXwZA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gY2IQpI3BBkL9XrAtrK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0RUWpBWNf2YauPTguT9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Cl5uqfTnZbLwYfhcJ3g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GkIG6piwdPxSNelw3aA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16SjPrCHx7cmtGAK5Xyw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458Ocn7SUbwqYeCSXuL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i2ucxeP7dLbgHdCZE8g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GO1nxsHUKptNX5qJ2c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VPSc_osOyNwQOEb.m1V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v1afl3IRLWxILGcYits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p9Zxe0moxBburDRKJe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Va740ef3.GRG3EV7_l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2_vhetYEjuihBvDrQwxA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049</TotalTime>
  <Words>751</Words>
  <Application>Microsoft Office PowerPoint</Application>
  <PresentationFormat>Custom</PresentationFormat>
  <Paragraphs>10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3" baseType="lpstr">
      <vt:lpstr>MS PGothic</vt:lpstr>
      <vt:lpstr>MS PGothic</vt:lpstr>
      <vt:lpstr>Aptos</vt:lpstr>
      <vt:lpstr>Aptos Display</vt:lpstr>
      <vt:lpstr>Arial</vt:lpstr>
      <vt:lpstr>Calibri</vt:lpstr>
      <vt:lpstr>Roboto</vt:lpstr>
      <vt:lpstr>Times New Roman</vt:lpstr>
      <vt:lpstr>Trebuchet MS</vt:lpstr>
      <vt:lpstr>Wingdings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orbari Igbiri</dc:creator>
  <cp:lastModifiedBy>Prince Friday</cp:lastModifiedBy>
  <cp:revision>12</cp:revision>
  <dcterms:created xsi:type="dcterms:W3CDTF">2024-06-06T12:21:27Z</dcterms:created>
  <dcterms:modified xsi:type="dcterms:W3CDTF">2024-06-09T08:35:14Z</dcterms:modified>
</cp:coreProperties>
</file>